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945" r:id="rId4"/>
  </p:sldMasterIdLst>
  <p:notesMasterIdLst>
    <p:notesMasterId r:id="rId15"/>
  </p:notesMasterIdLst>
  <p:handoutMasterIdLst>
    <p:handoutMasterId r:id="rId16"/>
  </p:handoutMasterIdLst>
  <p:sldIdLst>
    <p:sldId id="474" r:id="rId5"/>
    <p:sldId id="475" r:id="rId6"/>
    <p:sldId id="518" r:id="rId7"/>
    <p:sldId id="519" r:id="rId8"/>
    <p:sldId id="520" r:id="rId9"/>
    <p:sldId id="480" r:id="rId10"/>
    <p:sldId id="495" r:id="rId11"/>
    <p:sldId id="505" r:id="rId12"/>
    <p:sldId id="515" r:id="rId13"/>
    <p:sldId id="483" r:id="rId14"/>
  </p:sldIdLst>
  <p:sldSz cx="12192000" cy="6858000"/>
  <p:notesSz cx="7315200" cy="96012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CD00"/>
    <a:srgbClr val="ED8B00"/>
    <a:srgbClr val="DB291C"/>
    <a:srgbClr val="FF9900"/>
    <a:srgbClr val="C00000"/>
    <a:srgbClr val="3C8A2E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7" autoAdjust="0"/>
    <p:restoredTop sz="94799" autoAdjust="0"/>
  </p:normalViewPr>
  <p:slideViewPr>
    <p:cSldViewPr snapToGrid="0" showGuides="1">
      <p:cViewPr varScale="1">
        <p:scale>
          <a:sx n="114" d="100"/>
          <a:sy n="114" d="100"/>
        </p:scale>
        <p:origin x="300" y="102"/>
      </p:cViewPr>
      <p:guideLst/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microsoft.com/office/2011/relationships/chartColorStyle" Target="colors1.xml"/><Relationship Id="rId1" Type="http://schemas.microsoft.com/office/2011/relationships/chartStyle" Target="style1.xml"/><Relationship Id="rId6" Type="http://schemas.openxmlformats.org/officeDocument/2006/relationships/package" Target="../embeddings/Microsoft_Excel_Worksheet.xlsx"/><Relationship Id="rId5" Type="http://schemas.openxmlformats.org/officeDocument/2006/relationships/image" Target="../media/image22.jpg"/><Relationship Id="rId4" Type="http://schemas.openxmlformats.org/officeDocument/2006/relationships/image" Target="../media/image21.png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microsoft.com/office/2011/relationships/chartColorStyle" Target="colors2.xml"/><Relationship Id="rId1" Type="http://schemas.microsoft.com/office/2011/relationships/chartStyle" Target="style2.xml"/><Relationship Id="rId6" Type="http://schemas.openxmlformats.org/officeDocument/2006/relationships/package" Target="../embeddings/Microsoft_Excel_Worksheet1.xlsx"/><Relationship Id="rId5" Type="http://schemas.openxmlformats.org/officeDocument/2006/relationships/image" Target="../media/image22.jpg"/><Relationship Id="rId4" Type="http://schemas.openxmlformats.org/officeDocument/2006/relationships/image" Target="../media/image21.png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1.1821197320434339E-2"/>
          <c:y val="0.28281500085634065"/>
          <c:w val="0.98029821979678311"/>
          <c:h val="0.71144902795665799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Qualifying Content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blipFill dpi="0" rotWithShape="1">
                <a:blip xmlns:r="http://schemas.openxmlformats.org/officeDocument/2006/relationships"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2540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A157-4D85-A89A-7CF93E23457C}"/>
              </c:ext>
            </c:extLst>
          </c:dPt>
          <c:dPt>
            <c:idx val="1"/>
            <c:bubble3D val="0"/>
            <c:explosion val="60"/>
            <c:spPr>
              <a:blipFill dpi="0" rotWithShape="1">
                <a:blip xmlns:r="http://schemas.openxmlformats.org/officeDocument/2006/relationships"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2540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A157-4D85-A89A-7CF93E23457C}"/>
              </c:ext>
            </c:extLst>
          </c:dPt>
          <c:dPt>
            <c:idx val="2"/>
            <c:bubble3D val="0"/>
            <c:spPr>
              <a:blipFill dpi="0" rotWithShape="1">
                <a:blip xmlns:r="http://schemas.openxmlformats.org/officeDocument/2006/relationships"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2540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A157-4D85-A89A-7CF93E23457C}"/>
              </c:ext>
            </c:extLst>
          </c:dPt>
          <c:cat>
            <c:strRef>
              <c:f>Sheet1!$A$2:$A$4</c:f>
              <c:strCache>
                <c:ptCount val="3"/>
                <c:pt idx="0">
                  <c:v>UK Origin</c:v>
                </c:pt>
                <c:pt idx="1">
                  <c:v>EU Origin</c:v>
                </c:pt>
                <c:pt idx="2">
                  <c:v>RoW Origin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0</c:v>
                </c:pt>
                <c:pt idx="1">
                  <c:v>4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157-4D85-A89A-7CF93E2345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>
        <a:lumMod val="95000"/>
      </a:schemeClr>
    </a:solidFill>
    <a:ln>
      <a:noFill/>
    </a:ln>
    <a:effectLst/>
  </c:spPr>
  <c:txPr>
    <a:bodyPr/>
    <a:lstStyle/>
    <a:p>
      <a:pPr>
        <a:defRPr/>
      </a:pPr>
      <a:endParaRPr lang="nl-NL"/>
    </a:p>
  </c:txPr>
  <c:externalData r:id="rId6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1.1821047998697796E-2"/>
          <c:y val="0.21904690605595536"/>
          <c:w val="0.98029821979678311"/>
          <c:h val="0.71144902795665799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Qualifying Content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blipFill dpi="0" rotWithShape="1">
                <a:blip xmlns:r="http://schemas.openxmlformats.org/officeDocument/2006/relationships"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2540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8447-4275-B0D2-4873DCF471E9}"/>
              </c:ext>
            </c:extLst>
          </c:dPt>
          <c:dPt>
            <c:idx val="1"/>
            <c:bubble3D val="0"/>
            <c:explosion val="60"/>
            <c:spPr>
              <a:blipFill dpi="0" rotWithShape="1">
                <a:blip xmlns:r="http://schemas.openxmlformats.org/officeDocument/2006/relationships"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2540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8447-4275-B0D2-4873DCF471E9}"/>
              </c:ext>
            </c:extLst>
          </c:dPt>
          <c:dPt>
            <c:idx val="2"/>
            <c:bubble3D val="0"/>
            <c:explosion val="34"/>
            <c:spPr>
              <a:blipFill dpi="0" rotWithShape="1">
                <a:blip xmlns:r="http://schemas.openxmlformats.org/officeDocument/2006/relationships"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25400"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8447-4275-B0D2-4873DCF471E9}"/>
              </c:ext>
            </c:extLst>
          </c:dPt>
          <c:cat>
            <c:strRef>
              <c:f>Sheet1!$A$2:$A$4</c:f>
              <c:strCache>
                <c:ptCount val="3"/>
                <c:pt idx="0">
                  <c:v>UK Origin</c:v>
                </c:pt>
                <c:pt idx="1">
                  <c:v>EU Origin</c:v>
                </c:pt>
                <c:pt idx="2">
                  <c:v>RoW Origin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0</c:v>
                </c:pt>
                <c:pt idx="1">
                  <c:v>4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447-4275-B0D2-4873DCF471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>
        <a:lumMod val="95000"/>
      </a:schemeClr>
    </a:solidFill>
    <a:ln>
      <a:noFill/>
    </a:ln>
    <a:effectLst/>
  </c:spPr>
  <c:txPr>
    <a:bodyPr/>
    <a:lstStyle/>
    <a:p>
      <a:pPr>
        <a:defRPr/>
      </a:pPr>
      <a:endParaRPr lang="nl-NL"/>
    </a:p>
  </c:txPr>
  <c:externalData r:id="rId6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2/9/2021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nr.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2/9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8692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02888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3415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16566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3978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12845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4343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5252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927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6E4019C-F568-4EC6-B75B-15E2EC09B8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468" t="14117" b="27948"/>
          <a:stretch/>
        </p:blipFill>
        <p:spPr>
          <a:xfrm>
            <a:off x="-1" y="0"/>
            <a:ext cx="2207795" cy="1311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27875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EC93E963-CFD3-43A9-AE1B-F08B522B4130}"/>
              </a:ext>
            </a:extLst>
          </p:cNvPr>
          <p:cNvSpPr txBox="1"/>
          <p:nvPr userDrawn="1"/>
        </p:nvSpPr>
        <p:spPr>
          <a:xfrm>
            <a:off x="501649" y="6519673"/>
            <a:ext cx="535516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 Deloitte Legal</a:t>
            </a: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791BE9BD-85F6-497E-A8D6-CBFF87927B15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538D13-8CB9-4EE1-BCA9-24557BC4F2B2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3348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7" y="1714500"/>
            <a:ext cx="9323916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08E5BA7E-93C2-43A2-9267-44AEA65B95C5}"/>
              </a:ext>
            </a:extLst>
          </p:cNvPr>
          <p:cNvSpPr txBox="1"/>
          <p:nvPr userDrawn="1"/>
        </p:nvSpPr>
        <p:spPr>
          <a:xfrm>
            <a:off x="501649" y="6519673"/>
            <a:ext cx="535516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 Deloitte Legal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015C4658-A753-4EFC-B4C9-8CC1413F742B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EC3538D-DEF3-427C-A22B-D6DED4B4F939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345007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42B478C9-B5DA-40CF-85B5-B8255333DF59}"/>
              </a:ext>
            </a:extLst>
          </p:cNvPr>
          <p:cNvSpPr txBox="1"/>
          <p:nvPr userDrawn="1"/>
        </p:nvSpPr>
        <p:spPr>
          <a:xfrm>
            <a:off x="501649" y="6519673"/>
            <a:ext cx="535516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 Deloitte Legal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13465439-7954-4F6D-A5BA-2445764B064C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B993EBE-E0B6-4868-AEFF-D7DAD2DDC7E4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418636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D9D178A5-CCC4-4A46-8C47-9A140D4A5CA1}"/>
              </a:ext>
            </a:extLst>
          </p:cNvPr>
          <p:cNvSpPr txBox="1"/>
          <p:nvPr userDrawn="1"/>
        </p:nvSpPr>
        <p:spPr>
          <a:xfrm>
            <a:off x="501649" y="6519673"/>
            <a:ext cx="535516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 Deloitte Legal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70B3F7DA-818B-4D8B-B857-2D625878F36E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106B75E-593B-4DBE-A922-1C55C945A5EC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286092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8A445E98-0101-4641-B761-F6EC62A4C1F9}"/>
              </a:ext>
            </a:extLst>
          </p:cNvPr>
          <p:cNvSpPr txBox="1"/>
          <p:nvPr userDrawn="1"/>
        </p:nvSpPr>
        <p:spPr>
          <a:xfrm>
            <a:off x="501649" y="6519673"/>
            <a:ext cx="535516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 Deloitte Legal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8E6546D8-000E-40B0-BE69-23BCCEC818E9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7761B44-F344-440B-8939-9E878C81D0CA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185918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488" y="1719072"/>
            <a:ext cx="9328912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7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23100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3296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sz="13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3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3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3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3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2776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65608033"/>
      </p:ext>
    </p:extLst>
  </p:cSld>
  <p:clrMapOvr>
    <a:masterClrMapping/>
  </p:clrMapOvr>
  <p:transition>
    <p:fade/>
  </p:transition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47060" algn="r"/>
              </a:tabLst>
              <a:defRPr sz="13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5047060" algn="r"/>
              </a:tabLst>
              <a:defRPr sz="13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5047060" algn="r"/>
              </a:tabLst>
              <a:defRPr sz="13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5047060" algn="r"/>
              </a:tabLst>
              <a:defRPr sz="13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 baseline="0">
                <a:latin typeface="+mn-lt"/>
              </a:defRPr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20425069"/>
      </p:ext>
    </p:extLst>
  </p:cSld>
  <p:clrMapOvr>
    <a:masterClrMapping/>
  </p:clrMapOvr>
  <p:transition>
    <p:fade/>
  </p:transition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933144" y="345584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39"/>
              </a:spcBef>
              <a:defRPr sz="900">
                <a:solidFill>
                  <a:schemeClr val="tx1"/>
                </a:solidFill>
              </a:defRPr>
            </a:lvl1pPr>
            <a:lvl2pPr>
              <a:defRPr sz="727">
                <a:solidFill>
                  <a:schemeClr val="tx2"/>
                </a:solidFill>
              </a:defRPr>
            </a:lvl2pPr>
            <a:lvl3pPr>
              <a:defRPr sz="727">
                <a:solidFill>
                  <a:schemeClr val="tx2"/>
                </a:solidFill>
              </a:defRPr>
            </a:lvl3pPr>
            <a:lvl4pPr>
              <a:defRPr sz="692">
                <a:solidFill>
                  <a:schemeClr val="tx2"/>
                </a:solidFill>
              </a:defRPr>
            </a:lvl4pPr>
            <a:lvl5pPr>
              <a:defRPr sz="692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63296" y="1714500"/>
            <a:ext cx="3549904" cy="46482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16"/>
              </a:spcAft>
              <a:defRPr sz="1300"/>
            </a:lvl1pPr>
            <a:lvl2pPr>
              <a:spcBef>
                <a:spcPts val="208"/>
              </a:spcBef>
              <a:defRPr/>
            </a:lvl2pPr>
            <a:lvl3pPr>
              <a:spcBef>
                <a:spcPts val="208"/>
              </a:spcBef>
              <a:defRPr/>
            </a:lvl3pPr>
            <a:lvl4pPr>
              <a:spcBef>
                <a:spcPts val="208"/>
              </a:spcBef>
              <a:defRPr/>
            </a:lvl4pPr>
            <a:lvl5pPr>
              <a:spcBef>
                <a:spcPts val="208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318000" y="1719073"/>
            <a:ext cx="7416801" cy="4643628"/>
          </a:xfrm>
        </p:spPr>
        <p:txBody>
          <a:bodyPr>
            <a:noAutofit/>
          </a:bodyPr>
          <a:lstStyle>
            <a:lvl1pPr marL="0" indent="0" algn="l">
              <a:spcBef>
                <a:spcPts val="1247"/>
              </a:spcBef>
              <a:buFontTx/>
              <a:buNone/>
              <a:defRPr sz="13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3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C1A0D8D1-F6FE-4291-8B05-A9EC7DDE2C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468" t="14117" b="27948"/>
          <a:stretch/>
        </p:blipFill>
        <p:spPr>
          <a:xfrm>
            <a:off x="-1" y="0"/>
            <a:ext cx="2207795" cy="1311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143541"/>
      </p:ext>
    </p:extLst>
  </p:cSld>
  <p:clrMapOvr>
    <a:masterClrMapping/>
  </p:clrMapOvr>
  <p:transition>
    <p:fade/>
  </p:transition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3295" y="347472"/>
            <a:ext cx="11228832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14500"/>
            <a:ext cx="6240000" cy="4648200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3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3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3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 baseline="0">
                <a:latin typeface="+mn-lt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4725153"/>
      </p:ext>
    </p:extLst>
  </p:cSld>
  <p:clrMapOvr>
    <a:masterClrMapping/>
  </p:clrMapOvr>
  <p:transition>
    <p:fade/>
  </p:transition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5848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3" name="Title 1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A5D9D6B-8AE5-40BD-B06B-DB5F7F384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694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30D1982-2F6C-4CAD-8500-A20CE2E7FE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652" t="14201" b="30626"/>
          <a:stretch/>
        </p:blipFill>
        <p:spPr>
          <a:xfrm>
            <a:off x="0" y="-1"/>
            <a:ext cx="2207794" cy="1251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71112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3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3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3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248404" y="1719072"/>
            <a:ext cx="5486397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3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3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3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6071047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021DD-F549-41C3-B366-CFCBDD859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ECC1F342-3C5A-4884-B063-1F96DE727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3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3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3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2159D59-FAF6-4904-B82D-440C56566D8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60591" y="1714500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3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3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3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772082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1" y="685801"/>
            <a:ext cx="11277599" cy="10276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3296" y="2078281"/>
            <a:ext cx="11271504" cy="404273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300"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3296" y="1717263"/>
            <a:ext cx="11271504" cy="357187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50300"/>
            <a:ext cx="11265412" cy="335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B6E095B-6E26-41E6-AFC8-FF16F0C3C86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201" y="6121016"/>
            <a:ext cx="1127759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594559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56871" y="2137713"/>
            <a:ext cx="5480304" cy="3983302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56871" y="1719074"/>
            <a:ext cx="5480304" cy="405940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CD00439A-130B-4E04-85CB-DABD856B2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33B9B3F6-9F40-4388-9B79-8E0961AD2B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81AD6F48-ECFC-4B93-B043-AEA877E0937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3"/>
            <a:ext cx="5480304" cy="44019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3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3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3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991067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54379" y="1719073"/>
            <a:ext cx="5486516" cy="405939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57201" y="6121016"/>
            <a:ext cx="1127759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0271" y="2125011"/>
            <a:ext cx="5480304" cy="3996002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3296" y="1719073"/>
            <a:ext cx="5480304" cy="405939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Chart Placeholder 2">
            <a:extLst>
              <a:ext uri="{FF2B5EF4-FFF2-40B4-BE49-F238E27FC236}">
                <a16:creationId xmlns:a16="http://schemas.microsoft.com/office/drawing/2014/main" id="{F1BD57FD-600D-430A-AB0C-89DFCC950E21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6248403" y="2125011"/>
            <a:ext cx="5486397" cy="3996000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CD26822-93FD-4865-A5E4-053695247E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7DE9340-98F1-4431-9CA2-BA6425441E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2343963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18455"/>
            <a:ext cx="6290545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3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3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3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834EAC11-4B6F-4989-ADAB-DCA27D91F5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15E83D0-63FA-4C06-8888-31EF8033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3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3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3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 baseline="0">
                <a:latin typeface="+mn-lt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967277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8192978" y="1737504"/>
            <a:ext cx="3547917" cy="4644248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600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73296" y="1718454"/>
            <a:ext cx="7400704" cy="46442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3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3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3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D58FC9CF-4F37-4309-BF5F-E64AE49426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999054A-E358-4B12-B841-DE440A68D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7564648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1468" y="2115797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3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59119" y="1722943"/>
            <a:ext cx="3549549" cy="392112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1468" y="6121016"/>
            <a:ext cx="11277600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hart Placeholder 3">
            <a:extLst>
              <a:ext uri="{FF2B5EF4-FFF2-40B4-BE49-F238E27FC236}">
                <a16:creationId xmlns:a16="http://schemas.microsoft.com/office/drawing/2014/main" id="{16889619-7368-4B21-B502-003FD717C954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432357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3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536B633-26E6-47E5-A809-A97D26199C4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1226" y="1722944"/>
            <a:ext cx="3549549" cy="392112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1" name="Chart Placeholder 3">
            <a:extLst>
              <a:ext uri="{FF2B5EF4-FFF2-40B4-BE49-F238E27FC236}">
                <a16:creationId xmlns:a16="http://schemas.microsoft.com/office/drawing/2014/main" id="{B4691CB5-FF7F-4DAF-80B3-769541086497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819369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3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D8875204-BB59-4C5F-ABB1-D0ECEC5A070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91346" y="1722944"/>
            <a:ext cx="3549549" cy="392112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272C8D47-97C8-4E6F-91CC-C3AB406C1C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D65F0445-032D-4E6A-83EC-59A2184ED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5862145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1764" y="1727251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30040" y="1727251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71687" y="1727251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20883" y="1727251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81DFAED1-3C69-4431-8715-026D730F1B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8C662B-0462-4963-B666-2976F675A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2586046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5645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66617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7564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66617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55128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3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439092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3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55128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3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439092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3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CD54EF50-1F75-4251-9838-5413705270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580152B0-65C5-4969-BA13-FFC077318B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DAFD084-463A-44C6-B882-24EE18CC2B98}"/>
              </a:ext>
            </a:extLst>
          </p:cNvPr>
          <p:cNvSpPr/>
          <p:nvPr userDrawn="1"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1E7FDC9-AC67-4CA4-86DE-4DFAAEE0DFF9}"/>
              </a:ext>
            </a:extLst>
          </p:cNvPr>
          <p:cNvSpPr/>
          <p:nvPr userDrawn="1"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0BFD11F-868A-4204-947B-D205C842DFE0}"/>
              </a:ext>
            </a:extLst>
          </p:cNvPr>
          <p:cNvSpPr/>
          <p:nvPr userDrawn="1"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CD1FA4C-A499-4E17-B3FC-CC3DA6E8CF7C}"/>
              </a:ext>
            </a:extLst>
          </p:cNvPr>
          <p:cNvSpPr/>
          <p:nvPr userDrawn="1"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00249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843742C-26CB-411F-8564-5030924198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4224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A7C729B7-24CD-4887-BCB2-9B9E69736AA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06458856-8967-403E-92F9-6F17EFC37C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652" t="14201" b="30626"/>
          <a:stretch/>
        </p:blipFill>
        <p:spPr>
          <a:xfrm>
            <a:off x="0" y="-1"/>
            <a:ext cx="2207794" cy="1251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7019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70343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090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8434" y="1857894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2FDA775-7453-495D-ABC5-C379E37806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D55BC33C-2B71-4E68-81E3-F520AB462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04926054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D89C7E6-37F5-4005-B8BE-658A5ADDE2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0FA13130-E22F-4F71-97DB-A64E7A175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79115605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26FB2E4B-5D1B-4250-844C-3D50DE4A9F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0371969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043412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1823" y="1714500"/>
            <a:ext cx="11277600" cy="4667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68886373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9891263-8779-41FC-9383-3693CA16CB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8730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F862111-A699-4618-9902-CD7B1ECC90E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14826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136FEA86-C43A-4BD9-AC25-65C16B3F484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78800" y="1851440"/>
            <a:ext cx="3556000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D600A6A-61E2-4C72-A87B-39D905EFB4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D5910C4A-3157-47A5-8677-1140132DE3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21E1916-39D6-44A9-8C07-60C8660A0953}"/>
              </a:ext>
            </a:extLst>
          </p:cNvPr>
          <p:cNvSpPr/>
          <p:nvPr userDrawn="1"/>
        </p:nvSpPr>
        <p:spPr>
          <a:xfrm>
            <a:off x="458729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2178E01-9486-4723-8ECD-9A89CE53905A}"/>
              </a:ext>
            </a:extLst>
          </p:cNvPr>
          <p:cNvSpPr/>
          <p:nvPr userDrawn="1"/>
        </p:nvSpPr>
        <p:spPr>
          <a:xfrm>
            <a:off x="4314824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2A3624-848D-4789-989D-4C19B95C8DD4}"/>
              </a:ext>
            </a:extLst>
          </p:cNvPr>
          <p:cNvSpPr/>
          <p:nvPr userDrawn="1"/>
        </p:nvSpPr>
        <p:spPr>
          <a:xfrm>
            <a:off x="8178800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35668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AA35D0E-EBF0-4599-84F7-684DE89E56A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CBCDA542-DB63-41BB-89C0-73F35C7D17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3178E3-6490-436A-8FEB-CC4E21B542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B5A2B37-A59A-4B85-9144-75BC73AD9DB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EDB9492-A5FE-44CC-90D8-0E0E80A4E8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3D335E86-FA3A-4B76-B4D1-5D530C4E37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2226890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aseCode">
            <a:extLst>
              <a:ext uri="{FF2B5EF4-FFF2-40B4-BE49-F238E27FC236}">
                <a16:creationId xmlns:a16="http://schemas.microsoft.com/office/drawing/2014/main" id="{676B7924-6A82-4453-9ABA-42AE71384BDC}"/>
              </a:ext>
            </a:extLst>
          </p:cNvPr>
          <p:cNvSpPr txBox="1"/>
          <p:nvPr userDrawn="1"/>
        </p:nvSpPr>
        <p:spPr>
          <a:xfrm>
            <a:off x="6335184" y="6477002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ED0B00A8-5B86-4AFE-8884-819CF7356AAE}"/>
              </a:ext>
            </a:extLst>
          </p:cNvPr>
          <p:cNvSpPr txBox="1"/>
          <p:nvPr userDrawn="1"/>
        </p:nvSpPr>
        <p:spPr>
          <a:xfrm>
            <a:off x="501649" y="647700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</a:t>
            </a:r>
            <a:r>
              <a:rPr lang="en-US" sz="675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ster</a:t>
            </a: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gt; Slide Master]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BBEDB2-39B5-4D4C-AA82-85ED607FAC3B}"/>
              </a:ext>
            </a:extLst>
          </p:cNvPr>
          <p:cNvSpPr txBox="1"/>
          <p:nvPr userDrawn="1"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BECBA53-5CA5-4826-B507-38E5EDBC493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3571CF0-9FB3-44B1-BE19-B891DD1B1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A32CD74-2C13-40B4-A25F-8871032067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3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BD8344B-373A-4CA8-9F91-E02B0DA48BC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3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5636606-D676-4661-AF12-C0DF71DF3A7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3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4F706-D410-4A3E-B5DE-E6CD51845EA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3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9108582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5324" y="1853601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2979" y="4258270"/>
            <a:ext cx="123938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500785" y="4258270"/>
            <a:ext cx="124416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5149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0D485CFD-E778-438B-9F95-AA857AF5CA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344" y="1856232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995C2BA-4183-48F4-92D9-4620CCDF5C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7042" y="1847618"/>
            <a:ext cx="546461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2DC3B9DA-0A51-491C-923B-09D36118ADA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0344" y="4256623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70BD43BA-DF89-409F-B9BF-2853EC35826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57043" y="4256623"/>
            <a:ext cx="5483852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3C8C216-A0D5-48CE-BB18-6E34DE5AE0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6B3ABAE-3971-4ECC-8E25-1E94617FBF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3E3D5E-69E0-409C-B43B-3D03BAF8E640}"/>
              </a:ext>
            </a:extLst>
          </p:cNvPr>
          <p:cNvSpPr/>
          <p:nvPr userDrawn="1"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AC51DC9-50A0-4091-8F6F-9150D453B6B1}"/>
              </a:ext>
            </a:extLst>
          </p:cNvPr>
          <p:cNvSpPr/>
          <p:nvPr userDrawn="1"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118D7C8-CEED-48A7-ADB2-7610B12C1B07}"/>
              </a:ext>
            </a:extLst>
          </p:cNvPr>
          <p:cNvSpPr/>
          <p:nvPr userDrawn="1"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7A403C2-4204-4E69-B696-73BE1FE1F740}"/>
              </a:ext>
            </a:extLst>
          </p:cNvPr>
          <p:cNvSpPr/>
          <p:nvPr userDrawn="1"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84348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4481" y="4189870"/>
            <a:ext cx="8566108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6185" y="4189870"/>
            <a:ext cx="2319503" cy="1725448"/>
          </a:xfrm>
        </p:spPr>
        <p:txBody>
          <a:bodyPr anchor="ctr" anchorCtr="0"/>
          <a:lstStyle>
            <a:lvl1pPr algn="ctr">
              <a:defRPr sz="675"/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6187" y="5995943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955AE1B-54F5-4D63-880F-F7C7D729B0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468" t="14117" b="27948"/>
          <a:stretch/>
        </p:blipFill>
        <p:spPr>
          <a:xfrm>
            <a:off x="-1" y="0"/>
            <a:ext cx="2207795" cy="1311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92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ith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8B9DDECB-90E6-4132-BCD8-24EBC3764DB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724289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70F15D73-40F4-4F95-9E2A-7A67F615DB4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E65ED79E-D6FD-4D90-9073-C8776CB6AD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5D2675B-B3ED-47D2-9572-BACD8489C9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468" t="14117" b="27948"/>
          <a:stretch/>
        </p:blipFill>
        <p:spPr>
          <a:xfrm>
            <a:off x="-1" y="0"/>
            <a:ext cx="2207795" cy="1311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15387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6316" y="4194287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12074" y="4189870"/>
            <a:ext cx="2319503" cy="1725448"/>
          </a:xfrm>
        </p:spPr>
        <p:txBody>
          <a:bodyPr anchor="ctr" anchorCtr="0"/>
          <a:lstStyle>
            <a:lvl1pPr algn="ctr">
              <a:defRPr sz="675">
                <a:solidFill>
                  <a:schemeClr val="bg1"/>
                </a:solidFill>
              </a:defRPr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12076" y="5995943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EB68366-8494-4111-859E-01E599CC82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652" t="14201" b="30626"/>
          <a:stretch/>
        </p:blipFill>
        <p:spPr>
          <a:xfrm>
            <a:off x="0" y="-1"/>
            <a:ext cx="2207794" cy="1251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368264"/>
      </p:ext>
    </p:extLst>
  </p:cSld>
  <p:clrMapOvr>
    <a:masterClrMapping/>
  </p:clrMapOvr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2920" y="1665290"/>
            <a:ext cx="11187430" cy="47164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37CC665-FE98-46D6-975E-AFF0AE8ED2C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BBABC4F-611D-45AA-96CD-C45E11F228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4391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4001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1532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5325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26936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 userDrawn="1"/>
        </p:nvSpPr>
        <p:spPr>
          <a:xfrm>
            <a:off x="501649" y="6519673"/>
            <a:ext cx="535516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 Deloitte Legal</a:t>
            </a: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D39A514A-409D-470C-AE9C-EFB16BDA8C83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2A5EC33-1574-4E3A-89DA-3EC00A69C870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63430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28217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1DC4A35C-6E5F-4D1C-8973-1C29CBAF765E}"/>
              </a:ext>
            </a:extLst>
          </p:cNvPr>
          <p:cNvSpPr txBox="1"/>
          <p:nvPr userDrawn="1"/>
        </p:nvSpPr>
        <p:spPr>
          <a:xfrm>
            <a:off x="501649" y="6519673"/>
            <a:ext cx="535516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 Deloitte Legal</a:t>
            </a:r>
          </a:p>
        </p:txBody>
      </p:sp>
      <p:sp>
        <p:nvSpPr>
          <p:cNvPr id="14" name="CaseCode">
            <a:extLst>
              <a:ext uri="{FF2B5EF4-FFF2-40B4-BE49-F238E27FC236}">
                <a16:creationId xmlns:a16="http://schemas.microsoft.com/office/drawing/2014/main" id="{5B6818A1-3235-4413-9665-6D922B35C666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87CE22-99C8-4AA1-B80A-420B68B7E283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17009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04AF6108-47E9-489A-A28A-88A6C754FB38}"/>
              </a:ext>
            </a:extLst>
          </p:cNvPr>
          <p:cNvSpPr txBox="1"/>
          <p:nvPr userDrawn="1"/>
        </p:nvSpPr>
        <p:spPr>
          <a:xfrm>
            <a:off x="501649" y="6519673"/>
            <a:ext cx="535516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 Deloitte Legal</a:t>
            </a:r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8980A458-ABD9-40B8-8C0D-269072CDB94F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rexit: Impact </a:t>
            </a: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 The Deal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71386E3-7822-4155-91DC-3E38D96ED6CE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9715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484F29FA-0A46-4792-A45E-5DE1B223E09B}"/>
              </a:ext>
            </a:extLst>
          </p:cNvPr>
          <p:cNvSpPr txBox="1"/>
          <p:nvPr userDrawn="1"/>
        </p:nvSpPr>
        <p:spPr>
          <a:xfrm>
            <a:off x="501649" y="6519673"/>
            <a:ext cx="535516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 Deloitte Legal</a:t>
            </a:r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12BDD3ED-029E-4AC9-80CA-D3A2FBE9A5AF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895299-9295-492F-8C31-9744F3FB7A06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820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3206429901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5" name="CaseCode"/>
          <p:cNvSpPr txBox="1"/>
          <p:nvPr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rexit: Impact Of The Deal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endParaRPr lang="en-US" sz="675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Copyright"/>
          <p:cNvSpPr txBox="1"/>
          <p:nvPr/>
        </p:nvSpPr>
        <p:spPr>
          <a:xfrm>
            <a:off x="457200" y="6515063"/>
            <a:ext cx="535516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 Deloitte Lega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0887" y="1714500"/>
            <a:ext cx="11277599" cy="4648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nr.›</a:t>
            </a:fld>
            <a:endParaRPr lang="en-US" sz="675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A35A5D5-FD12-4A0E-B47E-3D53D008B26B}"/>
              </a:ext>
            </a:extLst>
          </p:cNvPr>
          <p:cNvSpPr txBox="1"/>
          <p:nvPr userDrawn="1"/>
        </p:nvSpPr>
        <p:spPr>
          <a:xfrm>
            <a:off x="4065081" y="699568"/>
            <a:ext cx="254000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 dirty="0">
              <a:solidFill>
                <a:srgbClr val="31313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3FEAD1B-5DFB-4123-913B-D7D5838C8C6D}"/>
              </a:ext>
            </a:extLst>
          </p:cNvPr>
          <p:cNvSpPr txBox="1"/>
          <p:nvPr userDrawn="1"/>
        </p:nvSpPr>
        <p:spPr>
          <a:xfrm>
            <a:off x="4321370" y="802745"/>
            <a:ext cx="167316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 dirty="0">
              <a:solidFill>
                <a:srgbClr val="31313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202DBDA-700C-4979-B00F-3477C099D042}"/>
              </a:ext>
            </a:extLst>
          </p:cNvPr>
          <p:cNvSpPr txBox="1"/>
          <p:nvPr userDrawn="1"/>
        </p:nvSpPr>
        <p:spPr>
          <a:xfrm>
            <a:off x="5969842" y="802745"/>
            <a:ext cx="25031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 dirty="0">
              <a:solidFill>
                <a:srgbClr val="31313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14DFC3E-51E5-47BE-BA81-FDAED74D8117}"/>
              </a:ext>
            </a:extLst>
          </p:cNvPr>
          <p:cNvSpPr txBox="1"/>
          <p:nvPr userDrawn="1"/>
        </p:nvSpPr>
        <p:spPr>
          <a:xfrm>
            <a:off x="4321027" y="801689"/>
            <a:ext cx="167385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3342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47" r:id="rId2"/>
    <p:sldLayoutId id="2147483948" r:id="rId3"/>
    <p:sldLayoutId id="2147483944" r:id="rId4"/>
    <p:sldLayoutId id="2147483949" r:id="rId5"/>
    <p:sldLayoutId id="2147483950" r:id="rId6"/>
    <p:sldLayoutId id="2147483951" r:id="rId7"/>
    <p:sldLayoutId id="2147483994" r:id="rId8"/>
    <p:sldLayoutId id="2147483995" r:id="rId9"/>
    <p:sldLayoutId id="2147483996" r:id="rId10"/>
    <p:sldLayoutId id="2147483997" r:id="rId11"/>
    <p:sldLayoutId id="2147483998" r:id="rId12"/>
    <p:sldLayoutId id="2147483999" r:id="rId13"/>
    <p:sldLayoutId id="2147484000" r:id="rId14"/>
    <p:sldLayoutId id="2147483952" r:id="rId15"/>
    <p:sldLayoutId id="2147483954" r:id="rId16"/>
    <p:sldLayoutId id="2147483955" r:id="rId17"/>
    <p:sldLayoutId id="2147483956" r:id="rId18"/>
    <p:sldLayoutId id="2147483957" r:id="rId19"/>
    <p:sldLayoutId id="2147483958" r:id="rId20"/>
    <p:sldLayoutId id="2147483959" r:id="rId21"/>
    <p:sldLayoutId id="2147483953" r:id="rId22"/>
    <p:sldLayoutId id="2147483960" r:id="rId23"/>
    <p:sldLayoutId id="2147483961" r:id="rId24"/>
    <p:sldLayoutId id="2147483962" r:id="rId25"/>
    <p:sldLayoutId id="2147483963" r:id="rId26"/>
    <p:sldLayoutId id="2147483964" r:id="rId27"/>
    <p:sldLayoutId id="2147483965" r:id="rId28"/>
    <p:sldLayoutId id="2147483966" r:id="rId29"/>
    <p:sldLayoutId id="2147483967" r:id="rId30"/>
    <p:sldLayoutId id="2147483973" r:id="rId31"/>
    <p:sldLayoutId id="2147483974" r:id="rId32"/>
    <p:sldLayoutId id="2147483975" r:id="rId33"/>
    <p:sldLayoutId id="2147484001" r:id="rId34"/>
    <p:sldLayoutId id="2147484002" r:id="rId35"/>
    <p:sldLayoutId id="2147484003" r:id="rId36"/>
    <p:sldLayoutId id="2147484004" r:id="rId37"/>
    <p:sldLayoutId id="2147484005" r:id="rId38"/>
    <p:sldLayoutId id="2147484006" r:id="rId39"/>
    <p:sldLayoutId id="2147483977" r:id="rId40"/>
    <p:sldLayoutId id="2147484008" r:id="rId41"/>
  </p:sldLayoutIdLst>
  <p:transition>
    <p:fade/>
  </p:transition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975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0477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975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228600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975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242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975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476250" indent="-104775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975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5" orient="horz" pos="4008" userDrawn="1">
          <p15:clr>
            <a:srgbClr val="F26B43"/>
          </p15:clr>
        </p15:guide>
        <p15:guide id="49" orient="horz" pos="432" userDrawn="1">
          <p15:clr>
            <a:srgbClr val="F26B43"/>
          </p15:clr>
        </p15:guide>
        <p15:guide id="68" orient="horz" pos="4104" userDrawn="1">
          <p15:clr>
            <a:srgbClr val="F26B43"/>
          </p15:clr>
        </p15:guide>
        <p15:guide id="69" orient="horz" pos="2184" userDrawn="1">
          <p15:clr>
            <a:srgbClr val="F26B43"/>
          </p15:clr>
        </p15:guide>
        <p15:guide id="70" orient="horz" pos="1080" userDrawn="1">
          <p15:clr>
            <a:srgbClr val="F26B43"/>
          </p15:clr>
        </p15:guide>
        <p15:guide id="71" orient="horz" pos="216" userDrawn="1">
          <p15:clr>
            <a:srgbClr val="F26B43"/>
          </p15:clr>
        </p15:guide>
        <p15:guide id="72" pos="3840" userDrawn="1">
          <p15:clr>
            <a:srgbClr val="F26B43"/>
          </p15:clr>
        </p15:guide>
        <p15:guide id="73" pos="3936" userDrawn="1">
          <p15:clr>
            <a:srgbClr val="F26B43"/>
          </p15:clr>
        </p15:guide>
        <p15:guide id="74" pos="288" userDrawn="1">
          <p15:clr>
            <a:srgbClr val="F26B43"/>
          </p15:clr>
        </p15:guide>
        <p15:guide id="75" pos="4960" userDrawn="1">
          <p15:clr>
            <a:srgbClr val="F26B43"/>
          </p15:clr>
        </p15:guide>
        <p15:guide id="76" pos="3744" userDrawn="1">
          <p15:clr>
            <a:srgbClr val="F26B43"/>
          </p15:clr>
        </p15:guide>
        <p15:guide id="77" pos="2720" userDrawn="1">
          <p15:clr>
            <a:srgbClr val="F26B43"/>
          </p15:clr>
        </p15:guide>
        <p15:guide id="78" pos="2528" userDrawn="1">
          <p15:clr>
            <a:srgbClr val="F26B43"/>
          </p15:clr>
        </p15:guide>
        <p15:guide id="79" pos="1312" userDrawn="1">
          <p15:clr>
            <a:srgbClr val="F26B43"/>
          </p15:clr>
        </p15:guide>
        <p15:guide id="80" pos="1504" userDrawn="1">
          <p15:clr>
            <a:srgbClr val="F26B43"/>
          </p15:clr>
        </p15:guide>
        <p15:guide id="81" pos="5152" userDrawn="1">
          <p15:clr>
            <a:srgbClr val="F26B43"/>
          </p15:clr>
        </p15:guide>
        <p15:guide id="82" pos="6176" userDrawn="1">
          <p15:clr>
            <a:srgbClr val="F26B43"/>
          </p15:clr>
        </p15:guide>
        <p15:guide id="83" pos="6368" userDrawn="1">
          <p15:clr>
            <a:srgbClr val="F26B43"/>
          </p15:clr>
        </p15:guide>
        <p15:guide id="84" pos="739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23.png"/><Relationship Id="rId7" Type="http://schemas.openxmlformats.org/officeDocument/2006/relationships/image" Target="../media/image2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24.png"/><Relationship Id="rId5" Type="http://schemas.openxmlformats.org/officeDocument/2006/relationships/image" Target="../media/image26.jpe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53A8AD-38C0-4854-81B3-9B99B4E007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1651" y="5186207"/>
            <a:ext cx="4670931" cy="895983"/>
          </a:xfrm>
        </p:spPr>
        <p:txBody>
          <a:bodyPr/>
          <a:lstStyle/>
          <a:p>
            <a:r>
              <a:rPr lang="en-US" dirty="0"/>
              <a:t>Brexit</a:t>
            </a:r>
            <a:r>
              <a:rPr lang="en-US"/>
              <a:t>: Impact </a:t>
            </a:r>
            <a:r>
              <a:rPr lang="en-US" dirty="0"/>
              <a:t>Of The Dea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8318258" cy="273050"/>
          </a:xfrm>
        </p:spPr>
        <p:txBody>
          <a:bodyPr/>
          <a:lstStyle/>
          <a:p>
            <a:r>
              <a:rPr lang="en-US" dirty="0"/>
              <a:t>Alexander Baert</a:t>
            </a:r>
          </a:p>
          <a:p>
            <a:r>
              <a:rPr lang="en-US" dirty="0"/>
              <a:t>10 </a:t>
            </a:r>
            <a:r>
              <a:rPr lang="en-US" dirty="0" err="1"/>
              <a:t>februari</a:t>
            </a:r>
            <a:r>
              <a:rPr lang="en-US" dirty="0"/>
              <a:t> 2021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9CCB7DC-954E-4E04-AC86-EE529BB574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63862" y="5677243"/>
            <a:ext cx="2203704" cy="913304"/>
          </a:xfrm>
          <a:prstGeom prst="rect">
            <a:avLst/>
          </a:prstGeom>
        </p:spPr>
      </p:pic>
      <p:pic>
        <p:nvPicPr>
          <p:cNvPr id="4" name="Picture Placeholder 3"/>
          <p:cNvPicPr>
            <a:picLocks noGrp="1" noChangeAspect="1"/>
          </p:cNvPicPr>
          <p:nvPr>
            <p:ph type="pic" sz="quarter" idx="1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3878" y="686468"/>
            <a:ext cx="5400000" cy="5137206"/>
          </a:xfrm>
        </p:spPr>
      </p:pic>
    </p:spTree>
    <p:extLst>
      <p:ext uri="{BB962C8B-B14F-4D97-AF65-F5344CB8AC3E}">
        <p14:creationId xmlns:p14="http://schemas.microsoft.com/office/powerpoint/2010/main" val="199675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noProof="0" dirty="0"/>
              <a:t>UK phased border control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454448" y="1665290"/>
            <a:ext cx="10235902" cy="4716460"/>
          </a:xfrm>
        </p:spPr>
        <p:txBody>
          <a:bodyPr/>
          <a:lstStyle/>
          <a:p>
            <a:pPr lvl="0">
              <a:buFont typeface="Arial" panose="020B0604020202020204" pitchFamily="34" charset="0"/>
              <a:buChar char="​"/>
              <a:defRPr/>
            </a:pPr>
            <a:endParaRPr lang="en-GB" dirty="0"/>
          </a:p>
          <a:p>
            <a:pPr marL="356400" lvl="5" indent="0">
              <a:buNone/>
              <a:defRPr/>
            </a:pPr>
            <a:r>
              <a:rPr lang="en-GB" sz="1600" dirty="0"/>
              <a:t>	Importers of standard ‘</a:t>
            </a:r>
            <a:r>
              <a:rPr lang="en-GB" sz="1600" b="1" dirty="0">
                <a:solidFill>
                  <a:schemeClr val="accent3"/>
                </a:solidFill>
              </a:rPr>
              <a:t>non-controlled</a:t>
            </a:r>
            <a:r>
              <a:rPr lang="en-GB" sz="1600" dirty="0"/>
              <a:t>’ goods will have up to </a:t>
            </a:r>
            <a:r>
              <a:rPr lang="en-GB" sz="1600" b="1" dirty="0">
                <a:solidFill>
                  <a:schemeClr val="accent3"/>
                </a:solidFill>
              </a:rPr>
              <a:t>six months </a:t>
            </a:r>
            <a:r>
              <a:rPr lang="en-GB" sz="1600" dirty="0"/>
              <a:t>after import to submit a 			</a:t>
            </a:r>
            <a:r>
              <a:rPr lang="en-GB" sz="1600" b="1" dirty="0">
                <a:solidFill>
                  <a:schemeClr val="accent3"/>
                </a:solidFill>
              </a:rPr>
              <a:t>customs declaration </a:t>
            </a:r>
            <a:r>
              <a:rPr lang="en-GB" sz="1600" dirty="0"/>
              <a:t>(and payments of associated customs duty will be deferred until submission of 			the customs declaration)</a:t>
            </a:r>
          </a:p>
          <a:p>
            <a:pPr marL="356400" lvl="5" indent="0">
              <a:buNone/>
              <a:defRPr/>
            </a:pPr>
            <a:r>
              <a:rPr lang="en-GB" sz="1600" dirty="0"/>
              <a:t>	There will be checks on </a:t>
            </a:r>
            <a:r>
              <a:rPr lang="en-GB" sz="1600" b="1" dirty="0">
                <a:solidFill>
                  <a:schemeClr val="accent3"/>
                </a:solidFill>
              </a:rPr>
              <a:t>controlled goods </a:t>
            </a:r>
            <a:r>
              <a:rPr lang="en-GB" sz="1600" dirty="0"/>
              <a:t>such as tobacco and alcohol, and </a:t>
            </a:r>
            <a:r>
              <a:rPr lang="en-GB" sz="1600" b="1" dirty="0">
                <a:solidFill>
                  <a:schemeClr val="accent3"/>
                </a:solidFill>
              </a:rPr>
              <a:t>customs declarations</a:t>
            </a:r>
            <a:r>
              <a:rPr lang="en-GB" sz="1600" dirty="0"/>
              <a:t>			for such imports will be required </a:t>
            </a:r>
            <a:r>
              <a:rPr lang="en-GB" sz="1600" b="1" dirty="0">
                <a:solidFill>
                  <a:schemeClr val="accent3"/>
                </a:solidFill>
              </a:rPr>
              <a:t>at the border</a:t>
            </a:r>
          </a:p>
          <a:p>
            <a:pPr lvl="0">
              <a:buFont typeface="Arial" panose="020B0604020202020204" pitchFamily="34" charset="0"/>
              <a:buChar char="​"/>
              <a:defRPr/>
            </a:pPr>
            <a:endParaRPr lang="en-GB" dirty="0"/>
          </a:p>
          <a:p>
            <a:pPr marL="356400" lvl="5" indent="0">
              <a:buNone/>
              <a:defRPr/>
            </a:pPr>
            <a:r>
              <a:rPr lang="en-GB" sz="1600" dirty="0"/>
              <a:t>	Importers of </a:t>
            </a:r>
            <a:r>
              <a:rPr lang="en-GB" sz="1600" b="1" dirty="0">
                <a:solidFill>
                  <a:schemeClr val="accent6"/>
                </a:solidFill>
              </a:rPr>
              <a:t>products of animal origin </a:t>
            </a:r>
            <a:r>
              <a:rPr lang="en-GB" sz="1600" dirty="0"/>
              <a:t>(</a:t>
            </a:r>
            <a:r>
              <a:rPr lang="en-GB" sz="1600" dirty="0" err="1"/>
              <a:t>POAO</a:t>
            </a:r>
            <a:r>
              <a:rPr lang="en-GB" sz="1600" dirty="0"/>
              <a:t>) and all </a:t>
            </a:r>
            <a:r>
              <a:rPr lang="en-GB" sz="1600" b="1" dirty="0">
                <a:solidFill>
                  <a:schemeClr val="accent6"/>
                </a:solidFill>
              </a:rPr>
              <a:t>regulated plants and plant products </a:t>
            </a:r>
            <a:r>
              <a:rPr lang="en-GB" sz="1600" dirty="0"/>
              <a:t>will 			require </a:t>
            </a:r>
            <a:r>
              <a:rPr lang="en-GB" sz="1600" b="1" dirty="0">
                <a:solidFill>
                  <a:schemeClr val="accent6"/>
                </a:solidFill>
              </a:rPr>
              <a:t>pre-arrival notification </a:t>
            </a:r>
            <a:r>
              <a:rPr lang="en-GB" sz="1600" dirty="0"/>
              <a:t>and submission of </a:t>
            </a:r>
            <a:r>
              <a:rPr lang="en-GB" sz="1600" b="1" dirty="0">
                <a:solidFill>
                  <a:schemeClr val="accent6"/>
                </a:solidFill>
              </a:rPr>
              <a:t>relevant health documentation</a:t>
            </a:r>
          </a:p>
          <a:p>
            <a:pPr lvl="0">
              <a:buFont typeface="Arial" panose="020B0604020202020204" pitchFamily="34" charset="0"/>
              <a:buChar char="​"/>
              <a:defRPr/>
            </a:pPr>
            <a:endParaRPr lang="en-GB" dirty="0"/>
          </a:p>
          <a:p>
            <a:pPr marL="356400" lvl="5" indent="0">
              <a:buNone/>
              <a:defRPr/>
            </a:pPr>
            <a:r>
              <a:rPr lang="en-GB" sz="1600" dirty="0"/>
              <a:t>	Importers moving </a:t>
            </a:r>
            <a:r>
              <a:rPr lang="en-GB" sz="1600" b="1" dirty="0">
                <a:solidFill>
                  <a:schemeClr val="accent1"/>
                </a:solidFill>
              </a:rPr>
              <a:t>all goods </a:t>
            </a:r>
            <a:r>
              <a:rPr lang="en-GB" sz="1600" dirty="0"/>
              <a:t>will have to make </a:t>
            </a:r>
            <a:r>
              <a:rPr lang="en-GB" sz="1600" b="1" dirty="0">
                <a:solidFill>
                  <a:schemeClr val="accent1"/>
                </a:solidFill>
              </a:rPr>
              <a:t>full declarations </a:t>
            </a:r>
            <a:r>
              <a:rPr lang="en-GB" sz="1600" dirty="0"/>
              <a:t>and </a:t>
            </a:r>
            <a:r>
              <a:rPr lang="en-GB" sz="1600" b="1" dirty="0">
                <a:solidFill>
                  <a:schemeClr val="accent1"/>
                </a:solidFill>
              </a:rPr>
              <a:t>pay tariffs at the point of 			importation</a:t>
            </a:r>
            <a:r>
              <a:rPr lang="en-GB" sz="1600" dirty="0">
                <a:solidFill>
                  <a:schemeClr val="accent1"/>
                </a:solidFill>
              </a:rPr>
              <a:t> </a:t>
            </a:r>
            <a:r>
              <a:rPr lang="en-GB" sz="1600" dirty="0"/>
              <a:t>(subject to any customs authorisations in place such as </a:t>
            </a:r>
            <a:r>
              <a:rPr lang="en-GB" sz="1600" dirty="0" err="1"/>
              <a:t>CFSP</a:t>
            </a:r>
            <a:r>
              <a:rPr lang="en-GB" sz="1600" dirty="0"/>
              <a:t>)</a:t>
            </a:r>
          </a:p>
          <a:p>
            <a:pPr marL="356400" lvl="5" indent="0">
              <a:buNone/>
              <a:defRPr/>
            </a:pPr>
            <a:r>
              <a:rPr lang="en-GB" sz="1600" dirty="0"/>
              <a:t>	There will be </a:t>
            </a:r>
            <a:r>
              <a:rPr lang="en-GB" sz="1600" b="1" dirty="0">
                <a:solidFill>
                  <a:schemeClr val="accent1"/>
                </a:solidFill>
              </a:rPr>
              <a:t>increased checks </a:t>
            </a:r>
            <a:r>
              <a:rPr lang="en-GB" sz="1600" dirty="0"/>
              <a:t>on animals, plants and associated products</a:t>
            </a:r>
          </a:p>
          <a:p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609600" y="2574515"/>
            <a:ext cx="24705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ea typeface="+mn-ea"/>
                <a:cs typeface="+mn-cs"/>
              </a:rPr>
              <a:t>1 January 202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09600" y="4023520"/>
            <a:ext cx="192339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76A8"/>
                </a:solidFill>
                <a:effectLst/>
                <a:uLnTx/>
                <a:uFillTx/>
                <a:ea typeface="+mn-ea"/>
                <a:cs typeface="+mn-cs"/>
              </a:rPr>
              <a:t>1 April 2021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09600" y="5193306"/>
            <a:ext cx="192339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cs typeface="+mn-cs"/>
              </a:rPr>
              <a:t>1 July 2021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01650" y="1412532"/>
            <a:ext cx="11188700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dirty="0"/>
              <a:t>Full border controls will be introduced in Great Britain in </a:t>
            </a:r>
            <a:r>
              <a:rPr lang="en-GB" b="1" dirty="0">
                <a:solidFill>
                  <a:srgbClr val="0D8390"/>
                </a:solidFill>
              </a:rPr>
              <a:t>three phases</a:t>
            </a:r>
            <a:r>
              <a:rPr lang="en-GB" dirty="0"/>
              <a:t>, and will become fully effective from </a:t>
            </a:r>
            <a:r>
              <a:rPr lang="en-GB" b="1" dirty="0">
                <a:solidFill>
                  <a:srgbClr val="0D8390"/>
                </a:solidFill>
              </a:rPr>
              <a:t>1 July 2021</a:t>
            </a:r>
            <a:r>
              <a:rPr lang="en-GB" dirty="0"/>
              <a:t>: </a:t>
            </a:r>
          </a:p>
          <a:p>
            <a:pPr>
              <a:spcBef>
                <a:spcPts val="600"/>
              </a:spcBef>
              <a:buSzPct val="100000"/>
            </a:pPr>
            <a:endParaRPr 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961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69900" y="1711788"/>
            <a:ext cx="10418233" cy="1592403"/>
          </a:xfrm>
        </p:spPr>
        <p:txBody>
          <a:bodyPr/>
          <a:lstStyle/>
          <a:p>
            <a:r>
              <a:rPr lang="en-US" noProof="0" dirty="0"/>
              <a:t>Where are we now?</a:t>
            </a:r>
          </a:p>
        </p:txBody>
      </p:sp>
    </p:spTree>
    <p:extLst>
      <p:ext uri="{BB962C8B-B14F-4D97-AF65-F5344CB8AC3E}">
        <p14:creationId xmlns:p14="http://schemas.microsoft.com/office/powerpoint/2010/main" val="1928695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in the UK-EU Trade and Cooperation Agreement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D6DEC26-8E91-4F58-8104-77A0EDD7C381}"/>
              </a:ext>
            </a:extLst>
          </p:cNvPr>
          <p:cNvSpPr txBox="1"/>
          <p:nvPr/>
        </p:nvSpPr>
        <p:spPr>
          <a:xfrm>
            <a:off x="5750069" y="5089905"/>
            <a:ext cx="219286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1800" b="1" dirty="0">
                <a:solidFill>
                  <a:srgbClr val="313131"/>
                </a:solidFill>
              </a:rPr>
              <a:t>Government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5C902EA-872A-A04B-AE2C-35255AB69805}"/>
              </a:ext>
            </a:extLst>
          </p:cNvPr>
          <p:cNvGrpSpPr/>
          <p:nvPr/>
        </p:nvGrpSpPr>
        <p:grpSpPr>
          <a:xfrm>
            <a:off x="1524398" y="1146597"/>
            <a:ext cx="1591170" cy="1406226"/>
            <a:chOff x="2339999" y="899999"/>
            <a:chExt cx="1440000" cy="1272627"/>
          </a:xfrm>
        </p:grpSpPr>
        <p:pic>
          <p:nvPicPr>
            <p:cNvPr id="10" name="Picture 9" descr="A picture containing fruit, marketplace, oranges, variety&#10;&#10;Description automatically generated">
              <a:extLst>
                <a:ext uri="{FF2B5EF4-FFF2-40B4-BE49-F238E27FC236}">
                  <a16:creationId xmlns:a16="http://schemas.microsoft.com/office/drawing/2014/main" id="{8809F6D8-BCAB-A449-B377-0E96F7CC590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339999" y="899999"/>
              <a:ext cx="1440000" cy="959187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8E00FBD-C2D2-D94C-9910-E5D9E0C4CCFD}"/>
                </a:ext>
              </a:extLst>
            </p:cNvPr>
            <p:cNvSpPr txBox="1"/>
            <p:nvPr/>
          </p:nvSpPr>
          <p:spPr>
            <a:xfrm>
              <a:off x="2340000" y="1719443"/>
              <a:ext cx="1439999" cy="453183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72000" tIns="72000" rIns="72000" bIns="72000" rtlCol="0">
              <a:no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000" b="1" dirty="0">
                  <a:solidFill>
                    <a:schemeClr val="bg1"/>
                  </a:solidFill>
                </a:rPr>
                <a:t>Trade in goods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1C3326C-1736-6E4C-B47D-D786D7E66D85}"/>
              </a:ext>
            </a:extLst>
          </p:cNvPr>
          <p:cNvGrpSpPr/>
          <p:nvPr/>
        </p:nvGrpSpPr>
        <p:grpSpPr>
          <a:xfrm>
            <a:off x="3402370" y="1146597"/>
            <a:ext cx="1591169" cy="1410312"/>
            <a:chOff x="3867175" y="896178"/>
            <a:chExt cx="1440138" cy="1276448"/>
          </a:xfrm>
        </p:grpSpPr>
        <p:pic>
          <p:nvPicPr>
            <p:cNvPr id="13" name="Picture 12" descr="A brick wall with a hole in it&#10;&#10;Description automatically generated with low confidence">
              <a:extLst>
                <a:ext uri="{FF2B5EF4-FFF2-40B4-BE49-F238E27FC236}">
                  <a16:creationId xmlns:a16="http://schemas.microsoft.com/office/drawing/2014/main" id="{7239C683-5838-324C-800B-708E3D0954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b="28665"/>
            <a:stretch/>
          </p:blipFill>
          <p:spPr>
            <a:xfrm>
              <a:off x="3867313" y="896178"/>
              <a:ext cx="1440000" cy="959188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CB5F69E-BCC9-5A47-B2C9-33982BA906B9}"/>
                </a:ext>
              </a:extLst>
            </p:cNvPr>
            <p:cNvSpPr txBox="1"/>
            <p:nvPr/>
          </p:nvSpPr>
          <p:spPr>
            <a:xfrm>
              <a:off x="3867175" y="1719443"/>
              <a:ext cx="1439999" cy="453183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72000" tIns="72000" rIns="72000" bIns="72000" rtlCol="0">
              <a:sp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000" b="1" dirty="0">
                  <a:solidFill>
                    <a:schemeClr val="bg1"/>
                  </a:solidFill>
                </a:rPr>
                <a:t>Technical barriers to trade and SPS measures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3892AF0-29B9-C741-A391-79E7D664F475}"/>
              </a:ext>
            </a:extLst>
          </p:cNvPr>
          <p:cNvGrpSpPr/>
          <p:nvPr/>
        </p:nvGrpSpPr>
        <p:grpSpPr>
          <a:xfrm>
            <a:off x="5280341" y="1137895"/>
            <a:ext cx="1591014" cy="1409456"/>
            <a:chOff x="5464200" y="896420"/>
            <a:chExt cx="1440600" cy="1276206"/>
          </a:xfrm>
        </p:grpSpPr>
        <p:pic>
          <p:nvPicPr>
            <p:cNvPr id="16" name="Picture 15" descr="Trucks on the road&#10;&#10;Description automatically generated with low confidence">
              <a:extLst>
                <a:ext uri="{FF2B5EF4-FFF2-40B4-BE49-F238E27FC236}">
                  <a16:creationId xmlns:a16="http://schemas.microsoft.com/office/drawing/2014/main" id="{AC576181-1060-244E-B7D8-99197FD45DE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464800" y="896420"/>
              <a:ext cx="1440000" cy="1039729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71767D1-EBD6-AF4D-B7BB-8C1B3D50ECCB}"/>
                </a:ext>
              </a:extLst>
            </p:cNvPr>
            <p:cNvSpPr txBox="1"/>
            <p:nvPr/>
          </p:nvSpPr>
          <p:spPr>
            <a:xfrm>
              <a:off x="5464200" y="1719443"/>
              <a:ext cx="1439999" cy="453183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72000" tIns="72000" rIns="72000" bIns="72000" rtlCol="0">
              <a:no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000" b="1" dirty="0">
                  <a:solidFill>
                    <a:schemeClr val="bg1"/>
                  </a:solidFill>
                </a:rPr>
                <a:t>Rules of origin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72967C8-2330-564D-9679-647B2F383EE5}"/>
              </a:ext>
            </a:extLst>
          </p:cNvPr>
          <p:cNvGrpSpPr/>
          <p:nvPr/>
        </p:nvGrpSpPr>
        <p:grpSpPr>
          <a:xfrm>
            <a:off x="7158157" y="1137654"/>
            <a:ext cx="1590349" cy="1409583"/>
            <a:chOff x="7061086" y="896180"/>
            <a:chExt cx="1440138" cy="1276446"/>
          </a:xfrm>
        </p:grpSpPr>
        <p:pic>
          <p:nvPicPr>
            <p:cNvPr id="19" name="Picture 18" descr="A picture containing text, outdoor&#10;&#10;Description automatically generated">
              <a:extLst>
                <a:ext uri="{FF2B5EF4-FFF2-40B4-BE49-F238E27FC236}">
                  <a16:creationId xmlns:a16="http://schemas.microsoft.com/office/drawing/2014/main" id="{C2FC4BB4-0026-504C-824D-B7F7DCA782C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061086" y="896180"/>
              <a:ext cx="1440000" cy="959186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FCFA4C3-7FB7-AE42-A885-C0B1BABE4A6F}"/>
                </a:ext>
              </a:extLst>
            </p:cNvPr>
            <p:cNvSpPr txBox="1"/>
            <p:nvPr/>
          </p:nvSpPr>
          <p:spPr>
            <a:xfrm>
              <a:off x="7061225" y="1719443"/>
              <a:ext cx="1439999" cy="453183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72000" tIns="72000" rIns="72000" bIns="72000" rtlCol="0">
              <a:no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000" b="1" dirty="0">
                  <a:solidFill>
                    <a:schemeClr val="bg1"/>
                  </a:solidFill>
                </a:rPr>
                <a:t>Customs and trade facilitation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D9F74CE-B184-444B-9C93-1CF1B65AED82}"/>
              </a:ext>
            </a:extLst>
          </p:cNvPr>
          <p:cNvGrpSpPr/>
          <p:nvPr/>
        </p:nvGrpSpPr>
        <p:grpSpPr>
          <a:xfrm>
            <a:off x="9035308" y="1118881"/>
            <a:ext cx="1612045" cy="1428356"/>
            <a:chOff x="8586151" y="896178"/>
            <a:chExt cx="1440601" cy="1276448"/>
          </a:xfrm>
        </p:grpSpPr>
        <p:pic>
          <p:nvPicPr>
            <p:cNvPr id="22" name="Picture 21" descr="Aerial view of a city&#10;&#10;Description automatically generated with low confidence">
              <a:extLst>
                <a:ext uri="{FF2B5EF4-FFF2-40B4-BE49-F238E27FC236}">
                  <a16:creationId xmlns:a16="http://schemas.microsoft.com/office/drawing/2014/main" id="{115D9DD2-9726-D745-9C0D-18224AB4F49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586752" y="896178"/>
              <a:ext cx="1440000" cy="824409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676C6BC7-E4B5-DA45-AFAD-A19DBF68084B}"/>
                </a:ext>
              </a:extLst>
            </p:cNvPr>
            <p:cNvSpPr txBox="1"/>
            <p:nvPr/>
          </p:nvSpPr>
          <p:spPr>
            <a:xfrm>
              <a:off x="8586151" y="1719443"/>
              <a:ext cx="1439999" cy="453183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72000" tIns="72000" rIns="72000" bIns="72000" rtlCol="0">
              <a:no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000" b="1" dirty="0">
                  <a:solidFill>
                    <a:schemeClr val="bg1"/>
                  </a:solidFill>
                </a:rPr>
                <a:t>International road transport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2450031-03CF-494E-AF40-AFBD0D2044D2}"/>
              </a:ext>
            </a:extLst>
          </p:cNvPr>
          <p:cNvGrpSpPr/>
          <p:nvPr/>
        </p:nvGrpSpPr>
        <p:grpSpPr>
          <a:xfrm>
            <a:off x="1530081" y="2897619"/>
            <a:ext cx="1591200" cy="1406128"/>
            <a:chOff x="1729114" y="2678630"/>
            <a:chExt cx="1440916" cy="1277913"/>
          </a:xfrm>
        </p:grpSpPr>
        <p:pic>
          <p:nvPicPr>
            <p:cNvPr id="25" name="Picture 24" descr="A group of people holding umbrellas&#10;&#10;Description automatically generated with medium confidence">
              <a:extLst>
                <a:ext uri="{FF2B5EF4-FFF2-40B4-BE49-F238E27FC236}">
                  <a16:creationId xmlns:a16="http://schemas.microsoft.com/office/drawing/2014/main" id="{0F4FBCA7-07A3-944A-88B2-1ED1ED28103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729114" y="2678630"/>
              <a:ext cx="1440000" cy="834082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3EA44829-EA78-9F45-A559-7BEE11D3AAD1}"/>
                </a:ext>
              </a:extLst>
            </p:cNvPr>
            <p:cNvSpPr txBox="1"/>
            <p:nvPr/>
          </p:nvSpPr>
          <p:spPr>
            <a:xfrm>
              <a:off x="1730031" y="3503360"/>
              <a:ext cx="1439999" cy="453183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72000" tIns="72000" rIns="72000" bIns="72000" rtlCol="0">
              <a:no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900" b="1" dirty="0">
                  <a:solidFill>
                    <a:schemeClr val="bg1"/>
                  </a:solidFill>
                </a:rPr>
                <a:t>Mutual recognition of professional qualifications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42E46CF-5FC0-F345-AE82-4D4DAE3E1F66}"/>
              </a:ext>
            </a:extLst>
          </p:cNvPr>
          <p:cNvGrpSpPr/>
          <p:nvPr/>
        </p:nvGrpSpPr>
        <p:grpSpPr>
          <a:xfrm>
            <a:off x="3402370" y="2901664"/>
            <a:ext cx="1590187" cy="1415667"/>
            <a:chOff x="3359450" y="2671375"/>
            <a:chExt cx="1442853" cy="1285168"/>
          </a:xfrm>
        </p:grpSpPr>
        <p:pic>
          <p:nvPicPr>
            <p:cNvPr id="28" name="Picture 27" descr="A picture containing text, outdoor, scoreboard&#10;&#10;Description automatically generated">
              <a:extLst>
                <a:ext uri="{FF2B5EF4-FFF2-40B4-BE49-F238E27FC236}">
                  <a16:creationId xmlns:a16="http://schemas.microsoft.com/office/drawing/2014/main" id="{CB9060CD-0093-C547-8A71-AE9FCFD9E82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362303" y="2671375"/>
              <a:ext cx="1440000" cy="959186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ED6C85F-2790-C144-9B65-71E759DF7DE5}"/>
                </a:ext>
              </a:extLst>
            </p:cNvPr>
            <p:cNvSpPr txBox="1"/>
            <p:nvPr/>
          </p:nvSpPr>
          <p:spPr>
            <a:xfrm>
              <a:off x="3359450" y="3503360"/>
              <a:ext cx="1439999" cy="453183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72000" tIns="72000" rIns="72000" bIns="72000" rtlCol="0">
              <a:no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000" b="1" dirty="0">
                  <a:solidFill>
                    <a:schemeClr val="bg1"/>
                  </a:solidFill>
                </a:rPr>
                <a:t>Financial services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9772762-DA98-574A-96A7-860F688EE667}"/>
              </a:ext>
            </a:extLst>
          </p:cNvPr>
          <p:cNvGrpSpPr/>
          <p:nvPr/>
        </p:nvGrpSpPr>
        <p:grpSpPr>
          <a:xfrm>
            <a:off x="5283704" y="2901665"/>
            <a:ext cx="1587041" cy="1407122"/>
            <a:chOff x="4966695" y="2678420"/>
            <a:chExt cx="1441548" cy="1278123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2E08CDC5-C9CC-B246-A023-0DAE919BDA0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966695" y="2678420"/>
              <a:ext cx="1440000" cy="959186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B82FA128-B5CB-E04A-8BE8-0586EE3FA5E9}"/>
                </a:ext>
              </a:extLst>
            </p:cNvPr>
            <p:cNvSpPr txBox="1"/>
            <p:nvPr/>
          </p:nvSpPr>
          <p:spPr>
            <a:xfrm>
              <a:off x="4968244" y="3503360"/>
              <a:ext cx="1439999" cy="453183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72000" tIns="72000" rIns="72000" bIns="72000" rtlCol="0">
              <a:no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000" b="1" dirty="0">
                  <a:solidFill>
                    <a:schemeClr val="bg1"/>
                  </a:solidFill>
                </a:rPr>
                <a:t>Data and digital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838289E-E571-DD4F-9BE4-AE5B9F2D380C}"/>
              </a:ext>
            </a:extLst>
          </p:cNvPr>
          <p:cNvGrpSpPr/>
          <p:nvPr/>
        </p:nvGrpSpPr>
        <p:grpSpPr>
          <a:xfrm>
            <a:off x="7163018" y="2893991"/>
            <a:ext cx="1585336" cy="1407335"/>
            <a:chOff x="6624322" y="2671375"/>
            <a:chExt cx="1447717" cy="1285168"/>
          </a:xfrm>
        </p:grpSpPr>
        <p:pic>
          <p:nvPicPr>
            <p:cNvPr id="34" name="Picture 33" descr="A close - up of some fabric&#10;&#10;Description automatically generated with low confidence">
              <a:extLst>
                <a:ext uri="{FF2B5EF4-FFF2-40B4-BE49-F238E27FC236}">
                  <a16:creationId xmlns:a16="http://schemas.microsoft.com/office/drawing/2014/main" id="{15D88359-E620-2347-939F-E16DA7FBE0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624322" y="2671375"/>
              <a:ext cx="1440000" cy="959186"/>
            </a:xfrm>
            <a:prstGeom prst="rect">
              <a:avLst/>
            </a:prstGeom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9399E211-7147-1047-8E58-CFC84B318071}"/>
                </a:ext>
              </a:extLst>
            </p:cNvPr>
            <p:cNvSpPr txBox="1"/>
            <p:nvPr/>
          </p:nvSpPr>
          <p:spPr>
            <a:xfrm>
              <a:off x="6632040" y="3503360"/>
              <a:ext cx="1439999" cy="453183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72000" tIns="72000" rIns="72000" bIns="72000" rtlCol="0">
              <a:no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000" b="1" dirty="0">
                  <a:solidFill>
                    <a:schemeClr val="bg1"/>
                  </a:solidFill>
                </a:rPr>
                <a:t>Cross-border trade in services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1FF45D5-5C9B-2441-86AE-B222A3A13E7A}"/>
              </a:ext>
            </a:extLst>
          </p:cNvPr>
          <p:cNvGrpSpPr/>
          <p:nvPr/>
        </p:nvGrpSpPr>
        <p:grpSpPr>
          <a:xfrm>
            <a:off x="9062894" y="2901665"/>
            <a:ext cx="1583785" cy="1415666"/>
            <a:chOff x="8275210" y="2668934"/>
            <a:chExt cx="1440520" cy="1287609"/>
          </a:xfrm>
        </p:grpSpPr>
        <p:pic>
          <p:nvPicPr>
            <p:cNvPr id="37" name="Picture 36" descr="Text, letter&#10;&#10;Description automatically generated">
              <a:extLst>
                <a:ext uri="{FF2B5EF4-FFF2-40B4-BE49-F238E27FC236}">
                  <a16:creationId xmlns:a16="http://schemas.microsoft.com/office/drawing/2014/main" id="{ACC1E097-4828-3F42-A84C-107150E435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275730" y="2668934"/>
              <a:ext cx="1440000" cy="964068"/>
            </a:xfrm>
            <a:prstGeom prst="rect">
              <a:avLst/>
            </a:prstGeom>
          </p:spPr>
        </p:pic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C37AE8D2-6F52-F74F-861B-0452A21BC3E0}"/>
                </a:ext>
              </a:extLst>
            </p:cNvPr>
            <p:cNvSpPr txBox="1"/>
            <p:nvPr/>
          </p:nvSpPr>
          <p:spPr>
            <a:xfrm>
              <a:off x="8275210" y="3503360"/>
              <a:ext cx="1439999" cy="453183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72000" tIns="72000" rIns="72000" bIns="72000" rtlCol="0">
              <a:no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000" b="1" dirty="0">
                  <a:solidFill>
                    <a:schemeClr val="bg1"/>
                  </a:solidFill>
                </a:rPr>
                <a:t>Intellectual property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F0F8D2C-4B31-1E43-8698-EF81E5368EBD}"/>
              </a:ext>
            </a:extLst>
          </p:cNvPr>
          <p:cNvGrpSpPr/>
          <p:nvPr/>
        </p:nvGrpSpPr>
        <p:grpSpPr>
          <a:xfrm>
            <a:off x="3405012" y="4671079"/>
            <a:ext cx="1597626" cy="1428554"/>
            <a:chOff x="10465053" y="4690280"/>
            <a:chExt cx="1440000" cy="1287609"/>
          </a:xfrm>
        </p:grpSpPr>
        <p:pic>
          <p:nvPicPr>
            <p:cNvPr id="40" name="Picture 39" descr="A picture containing indoor&#10;&#10;Description automatically generated">
              <a:extLst>
                <a:ext uri="{FF2B5EF4-FFF2-40B4-BE49-F238E27FC236}">
                  <a16:creationId xmlns:a16="http://schemas.microsoft.com/office/drawing/2014/main" id="{98E78987-13C8-904B-A72B-4A235BD72C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0465053" y="4690280"/>
              <a:ext cx="1440000" cy="959186"/>
            </a:xfrm>
            <a:prstGeom prst="rect">
              <a:avLst/>
            </a:prstGeom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549607F3-FD65-EF45-9B0F-F1ACBE012C52}"/>
                </a:ext>
              </a:extLst>
            </p:cNvPr>
            <p:cNvSpPr txBox="1"/>
            <p:nvPr/>
          </p:nvSpPr>
          <p:spPr>
            <a:xfrm>
              <a:off x="10465053" y="5524706"/>
              <a:ext cx="1439999" cy="453183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72000" tIns="72000" rIns="72000" bIns="72000" rtlCol="0">
              <a:no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900" b="1" dirty="0">
                  <a:solidFill>
                    <a:schemeClr val="bg1"/>
                  </a:solidFill>
                </a:rPr>
                <a:t>Social security coordination and healthcare arrangements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A1934FF-27EF-B14D-B589-DFFA78316FCC}"/>
              </a:ext>
            </a:extLst>
          </p:cNvPr>
          <p:cNvGrpSpPr/>
          <p:nvPr/>
        </p:nvGrpSpPr>
        <p:grpSpPr>
          <a:xfrm>
            <a:off x="7171469" y="4671233"/>
            <a:ext cx="1590197" cy="1417601"/>
            <a:chOff x="8927683" y="4690435"/>
            <a:chExt cx="1444204" cy="1287454"/>
          </a:xfrm>
        </p:grpSpPr>
        <p:pic>
          <p:nvPicPr>
            <p:cNvPr id="43" name="Picture 42" descr="A close - up of a dollar bill&#10;&#10;Description automatically generated with medium confidence">
              <a:extLst>
                <a:ext uri="{FF2B5EF4-FFF2-40B4-BE49-F238E27FC236}">
                  <a16:creationId xmlns:a16="http://schemas.microsoft.com/office/drawing/2014/main" id="{A181C992-B26E-3C4B-A220-FFB77186A3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8927683" y="4690435"/>
              <a:ext cx="1440000" cy="959186"/>
            </a:xfrm>
            <a:prstGeom prst="rect">
              <a:avLst/>
            </a:prstGeom>
          </p:spPr>
        </p:pic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6FBC2294-83D7-A943-A47F-1C367B90E0FD}"/>
                </a:ext>
              </a:extLst>
            </p:cNvPr>
            <p:cNvSpPr txBox="1"/>
            <p:nvPr/>
          </p:nvSpPr>
          <p:spPr>
            <a:xfrm>
              <a:off x="8927684" y="5524706"/>
              <a:ext cx="1444203" cy="453183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72000" tIns="72000" rIns="72000" bIns="72000" rtlCol="0">
              <a:no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000" b="1" dirty="0">
                  <a:solidFill>
                    <a:schemeClr val="bg1"/>
                  </a:solidFill>
                </a:rPr>
                <a:t>Tax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51C1AB1D-B525-2A41-B114-6D01AAEDF9A2}"/>
              </a:ext>
            </a:extLst>
          </p:cNvPr>
          <p:cNvGrpSpPr/>
          <p:nvPr/>
        </p:nvGrpSpPr>
        <p:grpSpPr>
          <a:xfrm>
            <a:off x="9060914" y="4670541"/>
            <a:ext cx="1626138" cy="1429092"/>
            <a:chOff x="5990185" y="4328091"/>
            <a:chExt cx="1444082" cy="1196406"/>
          </a:xfrm>
        </p:grpSpPr>
        <p:pic>
          <p:nvPicPr>
            <p:cNvPr id="46" name="Picture 45" descr="A person writing on a piece of paper&#10;&#10;Description automatically generated with medium confidence">
              <a:extLst>
                <a:ext uri="{FF2B5EF4-FFF2-40B4-BE49-F238E27FC236}">
                  <a16:creationId xmlns:a16="http://schemas.microsoft.com/office/drawing/2014/main" id="{56DA9F52-76DF-E142-9407-BFAC6BC19E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5994267" y="4328091"/>
              <a:ext cx="1440000" cy="959186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9BBB8A07-61B3-BF4E-937F-37B9EA0A4F41}"/>
                </a:ext>
              </a:extLst>
            </p:cNvPr>
            <p:cNvSpPr txBox="1"/>
            <p:nvPr/>
          </p:nvSpPr>
          <p:spPr>
            <a:xfrm>
              <a:off x="5990185" y="5071314"/>
              <a:ext cx="1439999" cy="453183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72000" tIns="72000" rIns="72000" bIns="72000" rtlCol="0">
              <a:no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1000" b="1" dirty="0">
                  <a:solidFill>
                    <a:schemeClr val="bg1"/>
                  </a:solidFill>
                </a:rPr>
                <a:t>Participation in Union </a:t>
              </a:r>
              <a:r>
                <a:rPr lang="en-US" sz="1000" b="1" dirty="0" err="1">
                  <a:solidFill>
                    <a:schemeClr val="bg1"/>
                  </a:solidFill>
                </a:rPr>
                <a:t>programmes</a:t>
              </a:r>
              <a:endParaRPr lang="en-US" sz="1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8B46CA8-4D6B-AA40-869A-F70DE8D349FA}"/>
              </a:ext>
            </a:extLst>
          </p:cNvPr>
          <p:cNvGrpSpPr/>
          <p:nvPr/>
        </p:nvGrpSpPr>
        <p:grpSpPr>
          <a:xfrm>
            <a:off x="1524398" y="4670541"/>
            <a:ext cx="1601272" cy="1429092"/>
            <a:chOff x="4381735" y="4328091"/>
            <a:chExt cx="1442070" cy="1196406"/>
          </a:xfrm>
        </p:grpSpPr>
        <p:pic>
          <p:nvPicPr>
            <p:cNvPr id="49" name="Picture 48" descr="A person looking at a computer&#10;&#10;Description automatically generated with medium confidence">
              <a:extLst>
                <a:ext uri="{FF2B5EF4-FFF2-40B4-BE49-F238E27FC236}">
                  <a16:creationId xmlns:a16="http://schemas.microsoft.com/office/drawing/2014/main" id="{389D06D7-8AFE-E34A-8B51-4838D2D637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4381735" y="4328091"/>
              <a:ext cx="1440000" cy="959186"/>
            </a:xfrm>
            <a:prstGeom prst="rect">
              <a:avLst/>
            </a:prstGeom>
          </p:spPr>
        </p:pic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8424F157-B960-7145-A67D-D2714BB882E9}"/>
                </a:ext>
              </a:extLst>
            </p:cNvPr>
            <p:cNvSpPr txBox="1"/>
            <p:nvPr/>
          </p:nvSpPr>
          <p:spPr>
            <a:xfrm>
              <a:off x="4383806" y="5071314"/>
              <a:ext cx="1439999" cy="453183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72000" tIns="72000" rIns="72000" bIns="72000" rtlCol="0">
              <a:noAutofit/>
            </a:bodyPr>
            <a:lstStyle/>
            <a:p>
              <a:pPr>
                <a:spcBef>
                  <a:spcPts val="600"/>
                </a:spcBef>
                <a:buSzPct val="100000"/>
              </a:pPr>
              <a:r>
                <a:rPr lang="en-US" sz="900" b="1" dirty="0">
                  <a:solidFill>
                    <a:schemeClr val="bg1"/>
                  </a:solidFill>
                </a:rPr>
                <a:t>Temporary entry and stay for business purpos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6325034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in the UK-EU Trade and Cooperation Agreement?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76DB55F4-7CD5-422E-889A-56A44D441B9B}"/>
              </a:ext>
            </a:extLst>
          </p:cNvPr>
          <p:cNvGraphicFramePr>
            <a:graphicFrameLocks noGrp="1"/>
          </p:cNvGraphicFramePr>
          <p:nvPr/>
        </p:nvGraphicFramePr>
        <p:xfrm>
          <a:off x="914400" y="1302253"/>
          <a:ext cx="9840287" cy="4133850"/>
        </p:xfrm>
        <a:graphic>
          <a:graphicData uri="http://schemas.openxmlformats.org/drawingml/2006/table">
            <a:tbl>
              <a:tblPr/>
              <a:tblGrid>
                <a:gridCol w="1736520">
                  <a:extLst>
                    <a:ext uri="{9D8B030D-6E8A-4147-A177-3AD203B41FA5}">
                      <a16:colId xmlns:a16="http://schemas.microsoft.com/office/drawing/2014/main" val="4107644924"/>
                    </a:ext>
                  </a:extLst>
                </a:gridCol>
                <a:gridCol w="1700343">
                  <a:extLst>
                    <a:ext uri="{9D8B030D-6E8A-4147-A177-3AD203B41FA5}">
                      <a16:colId xmlns:a16="http://schemas.microsoft.com/office/drawing/2014/main" val="2350511516"/>
                    </a:ext>
                  </a:extLst>
                </a:gridCol>
                <a:gridCol w="1600856">
                  <a:extLst>
                    <a:ext uri="{9D8B030D-6E8A-4147-A177-3AD203B41FA5}">
                      <a16:colId xmlns:a16="http://schemas.microsoft.com/office/drawing/2014/main" val="1250197236"/>
                    </a:ext>
                  </a:extLst>
                </a:gridCol>
                <a:gridCol w="1600856">
                  <a:extLst>
                    <a:ext uri="{9D8B030D-6E8A-4147-A177-3AD203B41FA5}">
                      <a16:colId xmlns:a16="http://schemas.microsoft.com/office/drawing/2014/main" val="1004766127"/>
                    </a:ext>
                  </a:extLst>
                </a:gridCol>
                <a:gridCol w="1600856">
                  <a:extLst>
                    <a:ext uri="{9D8B030D-6E8A-4147-A177-3AD203B41FA5}">
                      <a16:colId xmlns:a16="http://schemas.microsoft.com/office/drawing/2014/main" val="461923978"/>
                    </a:ext>
                  </a:extLst>
                </a:gridCol>
                <a:gridCol w="1600856">
                  <a:extLst>
                    <a:ext uri="{9D8B030D-6E8A-4147-A177-3AD203B41FA5}">
                      <a16:colId xmlns:a16="http://schemas.microsoft.com/office/drawing/2014/main" val="3219202573"/>
                    </a:ext>
                  </a:extLst>
                </a:gridCol>
              </a:tblGrid>
              <a:tr h="352425">
                <a:tc rowSpan="2" gridSpan="2">
                  <a:txBody>
                    <a:bodyPr/>
                    <a:lstStyle/>
                    <a:p>
                      <a:pPr algn="ctr" fontAlgn="base"/>
                      <a:r>
                        <a:rPr lang="en-GB" sz="13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​</a:t>
                      </a:r>
                      <a:endParaRPr lang="en-GB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1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U Member State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1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U-UK Trade deal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1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TO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4561285"/>
                  </a:ext>
                </a:extLst>
              </a:tr>
              <a:tr h="352425">
                <a:tc gridSpan="2" vMerge="1">
                  <a:txBody>
                    <a:bodyPr/>
                    <a:lstStyle/>
                    <a:p>
                      <a:endParaRPr lang="nl-B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GB" sz="900" b="0" i="1">
                          <a:solidFill>
                            <a:srgbClr val="000000"/>
                          </a:solidFill>
                          <a:effectLst/>
                          <a:latin typeface="Helvetica" panose="020B0604020202020204" pitchFamily="34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900" b="0" i="1">
                          <a:solidFill>
                            <a:srgbClr val="000000"/>
                          </a:solidFill>
                          <a:effectLst/>
                          <a:latin typeface="Helvetica" panose="020B0604020202020204" pitchFamily="34" charset="0"/>
                        </a:rPr>
                        <a:t>27 Member States</a:t>
                      </a:r>
                      <a:r>
                        <a:rPr lang="en-GB" sz="900" b="0" i="0">
                          <a:solidFill>
                            <a:srgbClr val="000000"/>
                          </a:solidFill>
                          <a:effectLst/>
                          <a:latin typeface="Helvetica" panose="020B0604020202020204" pitchFamily="34" charset="0"/>
                        </a:rPr>
                        <a:t>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900" b="0" i="1">
                          <a:solidFill>
                            <a:srgbClr val="000000"/>
                          </a:solidFill>
                          <a:effectLst/>
                          <a:latin typeface="Helvetica" panose="020B0604020202020204" pitchFamily="34" charset="0"/>
                        </a:rPr>
                        <a:t>UK</a:t>
                      </a:r>
                      <a:r>
                        <a:rPr lang="en-GB" sz="900" b="0" i="0">
                          <a:solidFill>
                            <a:srgbClr val="000000"/>
                          </a:solidFill>
                          <a:effectLst/>
                          <a:latin typeface="Helvetica" panose="020B0604020202020204" pitchFamily="34" charset="0"/>
                        </a:rPr>
                        <a:t>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900" b="0" i="1">
                          <a:solidFill>
                            <a:srgbClr val="000000"/>
                          </a:solidFill>
                          <a:effectLst/>
                          <a:latin typeface="Helvetica" panose="020B0604020202020204" pitchFamily="34" charset="0"/>
                        </a:rPr>
                        <a:t>Australia</a:t>
                      </a:r>
                      <a:r>
                        <a:rPr lang="en-GB" sz="900" b="0" i="0">
                          <a:solidFill>
                            <a:srgbClr val="000000"/>
                          </a:solidFill>
                          <a:effectLst/>
                          <a:latin typeface="Helvetica" panose="020B0604020202020204" pitchFamily="34" charset="0"/>
                        </a:rPr>
                        <a:t>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4774893"/>
                  </a:ext>
                </a:extLst>
              </a:tr>
              <a:tr h="428625">
                <a:tc gridSpan="2">
                  <a:txBody>
                    <a:bodyPr/>
                    <a:lstStyle/>
                    <a:p>
                      <a:pPr algn="l" fontAlgn="base"/>
                      <a:r>
                        <a:rPr lang="en-US" sz="1200" b="1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rictionless movement of goods, services &amp; capital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BA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endParaRPr lang="en-GB" sz="1200" b="0" i="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BC2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No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0668373"/>
                  </a:ext>
                </a:extLst>
              </a:tr>
              <a:tr h="428625">
                <a:tc gridSpan="2">
                  <a:txBody>
                    <a:bodyPr/>
                    <a:lstStyle/>
                    <a:p>
                      <a:pPr algn="l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sence of tariffs and quotas on goods trade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BC2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BC2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BC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9106767"/>
                  </a:ext>
                </a:extLst>
              </a:tr>
              <a:tr h="428625">
                <a:tc gridSpan="2">
                  <a:txBody>
                    <a:bodyPr/>
                    <a:lstStyle/>
                    <a:p>
                      <a:pPr algn="l" fontAlgn="base"/>
                      <a:r>
                        <a:rPr lang="en-GB" sz="1200" b="0" i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ree movement of people</a:t>
                      </a:r>
                      <a:r>
                        <a:rPr lang="en-GB" sz="12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GB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7A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GB" sz="1200" b="0" i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BC2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BC2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BC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0026509"/>
                  </a:ext>
                </a:extLst>
              </a:tr>
              <a:tr h="428625">
                <a:tc gridSpan="2">
                  <a:txBody>
                    <a:bodyPr/>
                    <a:lstStyle/>
                    <a:p>
                      <a:pPr algn="l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ee to negotiate trade deals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GB" sz="1200" b="0" i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6A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BC2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Yes ​</a:t>
                      </a:r>
                      <a:endParaRPr lang="en-GB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BC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1249488"/>
                  </a:ext>
                </a:extLst>
              </a:tr>
              <a:tr h="428625">
                <a:tc rowSpan="2">
                  <a:txBody>
                    <a:bodyPr/>
                    <a:lstStyle/>
                    <a:p>
                      <a:pPr algn="l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U laws and regulation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fluence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BC2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6A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6A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6660245"/>
                  </a:ext>
                </a:extLst>
              </a:tr>
              <a:tr h="428625">
                <a:tc vMerge="1">
                  <a:txBody>
                    <a:bodyPr/>
                    <a:lstStyle/>
                    <a:p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liance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BC2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me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5638224"/>
                  </a:ext>
                </a:extLst>
              </a:tr>
              <a:tr h="428625">
                <a:tc gridSpan="2">
                  <a:txBody>
                    <a:bodyPr/>
                    <a:lstStyle/>
                    <a:p>
                      <a:pPr algn="l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scal contributions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BC2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 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D4C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0278776"/>
                  </a:ext>
                </a:extLst>
              </a:tr>
              <a:tr h="428625">
                <a:tc gridSpan="2">
                  <a:txBody>
                    <a:bodyPr/>
                    <a:lstStyle/>
                    <a:p>
                      <a:pPr algn="l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on Agricultural Policy (CAP)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nl-B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s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BC2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  <a:r>
                        <a:rPr lang="en-GB" sz="1200" b="0" i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GB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6A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GB" sz="1200" b="0" i="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  <a:r>
                        <a:rPr lang="en-GB" sz="1200" b="0" i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GB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524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6A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2367423"/>
                  </a:ext>
                </a:extLst>
              </a:tr>
            </a:tbl>
          </a:graphicData>
        </a:graphic>
      </p:graphicFrame>
      <p:sp>
        <p:nvSpPr>
          <p:cNvPr id="3" name="Rectangle 1">
            <a:extLst>
              <a:ext uri="{FF2B5EF4-FFF2-40B4-BE49-F238E27FC236}">
                <a16:creationId xmlns:a16="http://schemas.microsoft.com/office/drawing/2014/main" id="{83A15F9E-E882-4858-8621-8B6928C984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400" y="1303047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BE" altLang="nl-BE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nl-BE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BE" altLang="nl-B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870701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noProof="0" dirty="0"/>
              <a:t>Post-transition period timelin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noProof="0" dirty="0"/>
              <a:t>Where are we now?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C402A05-4F99-5A4D-BC25-5F2B02223432}"/>
              </a:ext>
            </a:extLst>
          </p:cNvPr>
          <p:cNvSpPr/>
          <p:nvPr/>
        </p:nvSpPr>
        <p:spPr bwMode="gray">
          <a:xfrm>
            <a:off x="382875" y="4147958"/>
            <a:ext cx="11722100" cy="1662376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9" name="Text Placeholder 1"/>
          <p:cNvSpPr txBox="1">
            <a:spLocks/>
          </p:cNvSpPr>
          <p:nvPr/>
        </p:nvSpPr>
        <p:spPr>
          <a:xfrm>
            <a:off x="501650" y="1167778"/>
            <a:ext cx="3549549" cy="39211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>
                <a:solidFill>
                  <a:schemeClr val="accent2"/>
                </a:solidFill>
              </a:rPr>
              <a:t>Digest </a:t>
            </a:r>
            <a:endParaRPr lang="en-GB" sz="2000" dirty="0">
              <a:solidFill>
                <a:schemeClr val="accent2"/>
              </a:solidFill>
            </a:endParaRPr>
          </a:p>
        </p:txBody>
      </p:sp>
      <p:sp>
        <p:nvSpPr>
          <p:cNvPr id="20" name="Text Placeholder 2"/>
          <p:cNvSpPr txBox="1">
            <a:spLocks/>
          </p:cNvSpPr>
          <p:nvPr/>
        </p:nvSpPr>
        <p:spPr>
          <a:xfrm>
            <a:off x="8293011" y="1167778"/>
            <a:ext cx="3549549" cy="39211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>
                <a:solidFill>
                  <a:schemeClr val="accent2"/>
                </a:solidFill>
              </a:rPr>
              <a:t>Adapt </a:t>
            </a:r>
            <a:endParaRPr lang="en-GB" sz="2000" dirty="0">
              <a:solidFill>
                <a:schemeClr val="accent2"/>
              </a:solidFill>
            </a:endParaRPr>
          </a:p>
        </p:txBody>
      </p:sp>
      <p:sp>
        <p:nvSpPr>
          <p:cNvPr id="21" name="Text Placeholder 3"/>
          <p:cNvSpPr txBox="1">
            <a:spLocks/>
          </p:cNvSpPr>
          <p:nvPr/>
        </p:nvSpPr>
        <p:spPr>
          <a:xfrm>
            <a:off x="4439036" y="1182331"/>
            <a:ext cx="3853975" cy="39825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>
                <a:solidFill>
                  <a:schemeClr val="accent2"/>
                </a:solidFill>
              </a:rPr>
              <a:t>Implement</a:t>
            </a:r>
            <a:endParaRPr lang="en-GB" sz="2000" dirty="0">
              <a:solidFill>
                <a:schemeClr val="accent2"/>
              </a:solidFill>
            </a:endParaRPr>
          </a:p>
        </p:txBody>
      </p:sp>
      <p:sp>
        <p:nvSpPr>
          <p:cNvPr id="22" name="Text Placeholder 5"/>
          <p:cNvSpPr txBox="1">
            <a:spLocks/>
          </p:cNvSpPr>
          <p:nvPr/>
        </p:nvSpPr>
        <p:spPr>
          <a:xfrm>
            <a:off x="501650" y="1761565"/>
            <a:ext cx="3549549" cy="232783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8" indent="-185738">
              <a:buFont typeface="Arial" panose="020B0604020202020204" pitchFamily="34" charset="0"/>
              <a:buChar char="•"/>
            </a:pPr>
            <a:r>
              <a:rPr lang="en-GB" dirty="0"/>
              <a:t>Assess the </a:t>
            </a:r>
            <a:r>
              <a:rPr lang="en-GB"/>
              <a:t>government guidance</a:t>
            </a:r>
            <a:endParaRPr lang="en-GB" dirty="0"/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en-GB" dirty="0"/>
              <a:t>Calculate where changes may need to be made to business operations that have been fundamentally altered by Brexit  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endParaRPr lang="en-GB" b="1" dirty="0"/>
          </a:p>
        </p:txBody>
      </p:sp>
      <p:sp>
        <p:nvSpPr>
          <p:cNvPr id="23" name="Text Placeholder 6"/>
          <p:cNvSpPr txBox="1">
            <a:spLocks/>
          </p:cNvSpPr>
          <p:nvPr/>
        </p:nvSpPr>
        <p:spPr>
          <a:xfrm>
            <a:off x="8293013" y="1761564"/>
            <a:ext cx="3549549" cy="258654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8" indent="-185738">
              <a:buFont typeface="Arial" panose="020B0604020202020204" pitchFamily="34" charset="0"/>
              <a:buChar char="•"/>
            </a:pPr>
            <a:r>
              <a:rPr lang="en-GB" dirty="0"/>
              <a:t>Adapt any previous planning to take into account the new deal </a:t>
            </a:r>
          </a:p>
          <a:p>
            <a:pPr marL="185738" indent="-185738">
              <a:buFont typeface="Arial" panose="020B0604020202020204" pitchFamily="34" charset="0"/>
              <a:buChar char="•"/>
            </a:pPr>
            <a:r>
              <a:rPr lang="en-GB" dirty="0"/>
              <a:t>Identify issues that no longer require immediate remediation but may need to be monitored in the longer term</a:t>
            </a:r>
          </a:p>
          <a:p>
            <a:pPr marL="755650" lvl="3" indent="-285750">
              <a:buFont typeface="Courier New" panose="02070309020205020404" pitchFamily="49" charset="0"/>
              <a:buChar char="o"/>
            </a:pPr>
            <a:r>
              <a:rPr lang="en-GB" dirty="0"/>
              <a:t>Data </a:t>
            </a:r>
          </a:p>
          <a:p>
            <a:pPr marL="755650" lvl="3" indent="-285750">
              <a:buFont typeface="Courier New" panose="02070309020205020404" pitchFamily="49" charset="0"/>
              <a:buChar char="o"/>
            </a:pPr>
            <a:r>
              <a:rPr lang="en-GB" dirty="0"/>
              <a:t>Social security</a:t>
            </a:r>
          </a:p>
          <a:p>
            <a:pPr marL="755650" lvl="3" indent="-285750">
              <a:buFont typeface="Courier New" panose="02070309020205020404" pitchFamily="49" charset="0"/>
              <a:buChar char="o"/>
            </a:pPr>
            <a:r>
              <a:rPr lang="en-GB" dirty="0"/>
              <a:t>Tariffs and quotas  </a:t>
            </a:r>
          </a:p>
        </p:txBody>
      </p:sp>
      <p:sp>
        <p:nvSpPr>
          <p:cNvPr id="24" name="Text Placeholder 7"/>
          <p:cNvSpPr txBox="1">
            <a:spLocks/>
          </p:cNvSpPr>
          <p:nvPr/>
        </p:nvSpPr>
        <p:spPr>
          <a:xfrm>
            <a:off x="4397331" y="1761562"/>
            <a:ext cx="3549549" cy="242626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5738" indent="-185738">
              <a:buFont typeface="Arial" panose="020B0604020202020204" pitchFamily="34" charset="0"/>
              <a:buChar char="•"/>
            </a:pPr>
            <a:r>
              <a:rPr lang="en-GB" dirty="0"/>
              <a:t>Take the steps necessary to implement the changes required as fast as possible</a:t>
            </a:r>
          </a:p>
          <a:p>
            <a:pPr marL="587375" lvl="3" indent="-333375">
              <a:buFont typeface="Courier New" panose="02070309020205020404" pitchFamily="49" charset="0"/>
              <a:buChar char="o"/>
            </a:pPr>
            <a:r>
              <a:rPr lang="en-GB" dirty="0"/>
              <a:t>Ensure custom processes are up to date </a:t>
            </a:r>
          </a:p>
          <a:p>
            <a:pPr marL="587375" lvl="3" indent="-333375">
              <a:buFont typeface="Courier New" panose="02070309020205020404" pitchFamily="49" charset="0"/>
              <a:buChar char="o"/>
            </a:pPr>
            <a:r>
              <a:rPr lang="en-GB" dirty="0"/>
              <a:t>Communicate with your people the changes to their mobility </a:t>
            </a:r>
          </a:p>
          <a:p>
            <a:pPr marL="587375" lvl="3" indent="-333375">
              <a:buFont typeface="Courier New" panose="02070309020205020404" pitchFamily="49" charset="0"/>
              <a:buChar char="o"/>
            </a:pPr>
            <a:r>
              <a:rPr lang="en-GB" dirty="0"/>
              <a:t>Implement tax changes </a:t>
            </a:r>
          </a:p>
          <a:p>
            <a:endParaRPr lang="en-GB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0B7BF26-2465-44A8-B326-40135B43AD6C}"/>
              </a:ext>
            </a:extLst>
          </p:cNvPr>
          <p:cNvSpPr txBox="1"/>
          <p:nvPr/>
        </p:nvSpPr>
        <p:spPr>
          <a:xfrm>
            <a:off x="6721357" y="4549778"/>
            <a:ext cx="2044645" cy="637849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lIns="72000" tIns="72000" rIns="72000" bIns="7200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1600" dirty="0">
                <a:solidFill>
                  <a:srgbClr val="313131"/>
                </a:solidFill>
              </a:rPr>
              <a:t>1 January 2022, UKCA marking required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182450D-2836-498F-BA59-95EE7F831F98}"/>
              </a:ext>
            </a:extLst>
          </p:cNvPr>
          <p:cNvSpPr txBox="1"/>
          <p:nvPr/>
        </p:nvSpPr>
        <p:spPr>
          <a:xfrm>
            <a:off x="9142269" y="4558700"/>
            <a:ext cx="2249631" cy="637849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lIns="72000" tIns="72000" rIns="72000" bIns="7200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1600" dirty="0">
                <a:solidFill>
                  <a:srgbClr val="313131"/>
                </a:solidFill>
              </a:rPr>
              <a:t>1 October 2022, food labelling chang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0AD0149-8AAF-4699-AAB5-0F37CB07396E}"/>
              </a:ext>
            </a:extLst>
          </p:cNvPr>
          <p:cNvSpPr txBox="1"/>
          <p:nvPr/>
        </p:nvSpPr>
        <p:spPr>
          <a:xfrm>
            <a:off x="514350" y="4571592"/>
            <a:ext cx="2390775" cy="63720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lIns="72000" tIns="72000" rIns="72000" bIns="36000" rtlCol="0">
            <a:no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1600" dirty="0">
                <a:solidFill>
                  <a:srgbClr val="313131"/>
                </a:solidFill>
              </a:rPr>
              <a:t>1 January 2021, transition period end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3B2B993-F06D-484F-80E1-29E6D540B8A7}"/>
              </a:ext>
            </a:extLst>
          </p:cNvPr>
          <p:cNvSpPr txBox="1"/>
          <p:nvPr/>
        </p:nvSpPr>
        <p:spPr>
          <a:xfrm>
            <a:off x="3457575" y="4573647"/>
            <a:ext cx="2390775" cy="637849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lIns="72000" tIns="72000" rIns="72000" bIns="7200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1600" dirty="0">
                <a:solidFill>
                  <a:srgbClr val="313131"/>
                </a:solidFill>
              </a:rPr>
              <a:t>July 2021, data interim period end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5E331A7-7D23-49C8-BBA0-AEE448DB3663}"/>
              </a:ext>
            </a:extLst>
          </p:cNvPr>
          <p:cNvSpPr txBox="1"/>
          <p:nvPr/>
        </p:nvSpPr>
        <p:spPr>
          <a:xfrm>
            <a:off x="3457575" y="6073771"/>
            <a:ext cx="3108117" cy="637849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lIns="72000" tIns="72000" rIns="72000" bIns="7200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1600" dirty="0">
                <a:solidFill>
                  <a:srgbClr val="313131"/>
                </a:solidFill>
              </a:rPr>
              <a:t>July 2021, full customs declarations required for UK imports 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D8025E7-328D-EE45-9129-F6891C20583F}"/>
              </a:ext>
            </a:extLst>
          </p:cNvPr>
          <p:cNvCxnSpPr>
            <a:stCxn id="27" idx="2"/>
          </p:cNvCxnSpPr>
          <p:nvPr/>
        </p:nvCxnSpPr>
        <p:spPr>
          <a:xfrm>
            <a:off x="1709738" y="5208792"/>
            <a:ext cx="0" cy="292873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9EADAFF-D224-E74B-8008-17815D55DCEF}"/>
              </a:ext>
            </a:extLst>
          </p:cNvPr>
          <p:cNvCxnSpPr/>
          <p:nvPr/>
        </p:nvCxnSpPr>
        <p:spPr>
          <a:xfrm flipH="1">
            <a:off x="4587848" y="5193410"/>
            <a:ext cx="1" cy="328575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30F96A2-A016-4B43-9189-E59E45C84656}"/>
              </a:ext>
            </a:extLst>
          </p:cNvPr>
          <p:cNvCxnSpPr/>
          <p:nvPr/>
        </p:nvCxnSpPr>
        <p:spPr>
          <a:xfrm flipH="1">
            <a:off x="4587848" y="5750212"/>
            <a:ext cx="1" cy="328575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9260B8B-5CD5-5F49-A6C2-F1D272583769}"/>
              </a:ext>
            </a:extLst>
          </p:cNvPr>
          <p:cNvCxnSpPr/>
          <p:nvPr/>
        </p:nvCxnSpPr>
        <p:spPr>
          <a:xfrm flipH="1">
            <a:off x="7737448" y="5193410"/>
            <a:ext cx="1" cy="328575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7664B414-A4B4-3A42-A89B-35BE3CA2E813}"/>
              </a:ext>
            </a:extLst>
          </p:cNvPr>
          <p:cNvCxnSpPr/>
          <p:nvPr/>
        </p:nvCxnSpPr>
        <p:spPr>
          <a:xfrm flipH="1">
            <a:off x="10236808" y="5193410"/>
            <a:ext cx="1" cy="328575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ight Arrow 34">
            <a:extLst>
              <a:ext uri="{FF2B5EF4-FFF2-40B4-BE49-F238E27FC236}">
                <a16:creationId xmlns:a16="http://schemas.microsoft.com/office/drawing/2014/main" id="{28480684-9E10-9841-BEC0-07CA467C61A6}"/>
              </a:ext>
            </a:extLst>
          </p:cNvPr>
          <p:cNvSpPr/>
          <p:nvPr/>
        </p:nvSpPr>
        <p:spPr bwMode="gray">
          <a:xfrm>
            <a:off x="501650" y="5261177"/>
            <a:ext cx="11031394" cy="809655"/>
          </a:xfrm>
          <a:prstGeom prst="rightArrow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651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69900" y="1711788"/>
            <a:ext cx="10418233" cy="1592403"/>
          </a:xfrm>
        </p:spPr>
        <p:txBody>
          <a:bodyPr/>
          <a:lstStyle/>
          <a:p>
            <a:r>
              <a:rPr lang="en-US" noProof="0" dirty="0"/>
              <a:t>Customs duties and border controls</a:t>
            </a:r>
          </a:p>
        </p:txBody>
      </p:sp>
    </p:spTree>
    <p:extLst>
      <p:ext uri="{BB962C8B-B14F-4D97-AF65-F5344CB8AC3E}">
        <p14:creationId xmlns:p14="http://schemas.microsoft.com/office/powerpoint/2010/main" val="4212237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C</a:t>
            </a:r>
            <a:r>
              <a:rPr lang="en-US" noProof="0" dirty="0" err="1"/>
              <a:t>lassification</a:t>
            </a:r>
            <a:r>
              <a:rPr lang="en-US" noProof="0" dirty="0"/>
              <a:t>, valuation and origi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s building blocks</a:t>
            </a:r>
            <a:endParaRPr lang="en-US" b="1" noProof="0" dirty="0"/>
          </a:p>
        </p:txBody>
      </p:sp>
      <p:sp>
        <p:nvSpPr>
          <p:cNvPr id="6" name="Content Placeholder 3"/>
          <p:cNvSpPr txBox="1">
            <a:spLocks/>
          </p:cNvSpPr>
          <p:nvPr/>
        </p:nvSpPr>
        <p:spPr>
          <a:xfrm>
            <a:off x="501650" y="1420576"/>
            <a:ext cx="8390573" cy="8745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600" b="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Key elements to determine the amount of duty payable:</a:t>
            </a:r>
          </a:p>
        </p:txBody>
      </p:sp>
      <p:grpSp>
        <p:nvGrpSpPr>
          <p:cNvPr id="7" name="Group 6"/>
          <p:cNvGrpSpPr>
            <a:grpSpLocks noChangeAspect="1"/>
          </p:cNvGrpSpPr>
          <p:nvPr/>
        </p:nvGrpSpPr>
        <p:grpSpPr>
          <a:xfrm>
            <a:off x="1233520" y="1675377"/>
            <a:ext cx="9714732" cy="5210056"/>
            <a:chOff x="1021853" y="2656777"/>
            <a:chExt cx="6551964" cy="4362029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C7DBD18-380C-4516-B921-1B01EE667F23}"/>
                </a:ext>
              </a:extLst>
            </p:cNvPr>
            <p:cNvGrpSpPr/>
            <p:nvPr/>
          </p:nvGrpSpPr>
          <p:grpSpPr>
            <a:xfrm>
              <a:off x="1021853" y="3412485"/>
              <a:ext cx="6551964" cy="3606321"/>
              <a:chOff x="1900238" y="2241550"/>
              <a:chExt cx="8773974" cy="6411235"/>
            </a:xfrm>
          </p:grpSpPr>
          <p:sp>
            <p:nvSpPr>
              <p:cNvPr id="14" name="TextBox 13"/>
              <p:cNvSpPr txBox="1"/>
              <p:nvPr/>
            </p:nvSpPr>
            <p:spPr>
              <a:xfrm>
                <a:off x="2017775" y="4280496"/>
                <a:ext cx="2651760" cy="37602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14313" indent="-214313" defTabSz="685800">
                  <a:spcAft>
                    <a:spcPts val="900"/>
                  </a:spcAft>
                  <a:buFont typeface="Arial" panose="020B0604020202020204" pitchFamily="34" charset="0"/>
                  <a:buChar char="•"/>
                </a:pPr>
                <a:endParaRPr lang="en-GB" sz="1600" dirty="0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214313" indent="-214313" defTabSz="685800">
                  <a:spcAft>
                    <a:spcPts val="900"/>
                  </a:spcAft>
                  <a:buFont typeface="Arial" panose="020B0604020202020204" pitchFamily="34" charset="0"/>
                  <a:buChar char="•"/>
                </a:pPr>
                <a:r>
                  <a:rPr lang="en-GB" sz="1600" dirty="0">
                    <a:solidFill>
                      <a:prstClr val="black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Determining the correct commodity code for the product </a:t>
                </a:r>
              </a:p>
              <a:p>
                <a:pPr marL="214313" indent="-214313" defTabSz="685800">
                  <a:spcAft>
                    <a:spcPts val="900"/>
                  </a:spcAft>
                  <a:buFont typeface="Arial" panose="020B0604020202020204" pitchFamily="34" charset="0"/>
                  <a:buChar char="•"/>
                </a:pPr>
                <a:r>
                  <a:rPr lang="en-GB" sz="1600" dirty="0">
                    <a:solidFill>
                      <a:prstClr val="black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UK Global Tariff</a:t>
                </a:r>
              </a:p>
              <a:p>
                <a:pPr marL="214313" indent="-214313" defTabSz="685800">
                  <a:spcAft>
                    <a:spcPts val="900"/>
                  </a:spcAft>
                  <a:buFont typeface="Arial" panose="020B0604020202020204" pitchFamily="34" charset="0"/>
                  <a:buChar char="•"/>
                </a:pPr>
                <a:r>
                  <a:rPr lang="en-GB" sz="1600" dirty="0">
                    <a:solidFill>
                      <a:prstClr val="black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EU Tariff</a:t>
                </a:r>
              </a:p>
              <a:p>
                <a:pPr marL="214313" indent="-214313" defTabSz="685800">
                  <a:spcAft>
                    <a:spcPts val="900"/>
                  </a:spcAft>
                  <a:buFont typeface="Arial" panose="020B0604020202020204" pitchFamily="34" charset="0"/>
                  <a:buChar char="•"/>
                </a:pPr>
                <a:r>
                  <a:rPr lang="en-GB" sz="1600" dirty="0">
                    <a:solidFill>
                      <a:prstClr val="black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heck that commodity codes are correct</a:t>
                </a:r>
              </a:p>
            </p:txBody>
          </p:sp>
          <p:sp>
            <p:nvSpPr>
              <p:cNvPr id="15" name="Rectangle 3"/>
              <p:cNvSpPr>
                <a:spLocks noChangeArrowheads="1"/>
              </p:cNvSpPr>
              <p:nvPr/>
            </p:nvSpPr>
            <p:spPr bwMode="auto">
              <a:xfrm>
                <a:off x="2017775" y="3975100"/>
                <a:ext cx="2651760" cy="4069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algn="ctr" defTabSz="428625">
                  <a:lnSpc>
                    <a:spcPct val="95000"/>
                  </a:lnSpc>
                </a:pPr>
                <a:r>
                  <a:rPr lang="en-US" b="1" dirty="0">
                    <a:solidFill>
                      <a:srgbClr val="86BC25"/>
                    </a:solidFill>
                    <a:latin typeface="Calibri"/>
                    <a:ea typeface="ＭＳ Ｐゴシック" charset="-128"/>
                  </a:rPr>
                  <a:t>Classification</a:t>
                </a:r>
              </a:p>
            </p:txBody>
          </p:sp>
          <p:sp>
            <p:nvSpPr>
              <p:cNvPr id="16" name="Rectangle 4"/>
              <p:cNvSpPr>
                <a:spLocks noChangeArrowheads="1"/>
              </p:cNvSpPr>
              <p:nvPr/>
            </p:nvSpPr>
            <p:spPr bwMode="auto">
              <a:xfrm>
                <a:off x="4813299" y="3167067"/>
                <a:ext cx="2651760" cy="4069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algn="ctr" defTabSz="428625">
                  <a:lnSpc>
                    <a:spcPct val="95000"/>
                  </a:lnSpc>
                </a:pPr>
                <a:r>
                  <a:rPr lang="en-US" b="1" dirty="0">
                    <a:solidFill>
                      <a:srgbClr val="FFC000"/>
                    </a:solidFill>
                    <a:latin typeface="Calibri"/>
                    <a:ea typeface="ＭＳ Ｐゴシック" charset="-128"/>
                  </a:rPr>
                  <a:t>Valuation</a:t>
                </a:r>
              </a:p>
            </p:txBody>
          </p:sp>
          <p:sp>
            <p:nvSpPr>
              <p:cNvPr id="17" name="Freeform 16"/>
              <p:cNvSpPr>
                <a:spLocks/>
              </p:cNvSpPr>
              <p:nvPr/>
            </p:nvSpPr>
            <p:spPr bwMode="auto">
              <a:xfrm>
                <a:off x="1900238" y="2241550"/>
                <a:ext cx="8388349" cy="2433638"/>
              </a:xfrm>
              <a:custGeom>
                <a:avLst/>
                <a:gdLst>
                  <a:gd name="T0" fmla="*/ 0 w 5281"/>
                  <a:gd name="T1" fmla="*/ 2147483647 h 1635"/>
                  <a:gd name="T2" fmla="*/ 0 w 5281"/>
                  <a:gd name="T3" fmla="*/ 2147483647 h 1635"/>
                  <a:gd name="T4" fmla="*/ 2147483647 w 5281"/>
                  <a:gd name="T5" fmla="*/ 2147483647 h 1635"/>
                  <a:gd name="T6" fmla="*/ 2147483647 w 5281"/>
                  <a:gd name="T7" fmla="*/ 2147483647 h 1635"/>
                  <a:gd name="T8" fmla="*/ 2147483647 w 5281"/>
                  <a:gd name="T9" fmla="*/ 2147483647 h 1635"/>
                  <a:gd name="T10" fmla="*/ 2147483647 w 5281"/>
                  <a:gd name="T11" fmla="*/ 0 h 1635"/>
                  <a:gd name="T12" fmla="*/ 2147483647 w 5281"/>
                  <a:gd name="T13" fmla="*/ 0 h 163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281"/>
                  <a:gd name="T22" fmla="*/ 0 h 1635"/>
                  <a:gd name="T23" fmla="*/ 5281 w 5281"/>
                  <a:gd name="T24" fmla="*/ 1635 h 163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281" h="1635">
                    <a:moveTo>
                      <a:pt x="0" y="1634"/>
                    </a:moveTo>
                    <a:lnTo>
                      <a:pt x="0" y="1089"/>
                    </a:lnTo>
                    <a:lnTo>
                      <a:pt x="1760" y="1089"/>
                    </a:lnTo>
                    <a:lnTo>
                      <a:pt x="1760" y="544"/>
                    </a:lnTo>
                    <a:lnTo>
                      <a:pt x="3520" y="544"/>
                    </a:lnTo>
                    <a:lnTo>
                      <a:pt x="3520" y="0"/>
                    </a:lnTo>
                    <a:lnTo>
                      <a:pt x="5280" y="0"/>
                    </a:lnTo>
                  </a:path>
                </a:pathLst>
              </a:custGeom>
              <a:noFill/>
              <a:ln w="9525" cap="rnd">
                <a:solidFill>
                  <a:schemeClr val="accent1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 defTabSz="514350">
                  <a:defRPr/>
                </a:pPr>
                <a:endParaRPr lang="en-US" sz="1013" dirty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8" name="Text Box 6"/>
              <p:cNvSpPr txBox="1">
                <a:spLocks noChangeArrowheads="1"/>
              </p:cNvSpPr>
              <p:nvPr/>
            </p:nvSpPr>
            <p:spPr bwMode="auto">
              <a:xfrm>
                <a:off x="7616189" y="2336802"/>
                <a:ext cx="2651760" cy="4069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algn="ctr" defTabSz="428625">
                  <a:lnSpc>
                    <a:spcPct val="95000"/>
                  </a:lnSpc>
                </a:pPr>
                <a:r>
                  <a:rPr lang="en-US" b="1" dirty="0">
                    <a:solidFill>
                      <a:srgbClr val="007CB0"/>
                    </a:solidFill>
                    <a:latin typeface="Calibri"/>
                    <a:ea typeface="ＭＳ Ｐゴシック" charset="-128"/>
                  </a:rPr>
                  <a:t>Origin</a:t>
                </a: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4813299" y="3465831"/>
                <a:ext cx="2651760" cy="51049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14313" indent="-214313" defTabSz="685800">
                  <a:spcAft>
                    <a:spcPts val="900"/>
                  </a:spcAft>
                  <a:buFont typeface="Arial" panose="020B0604020202020204" pitchFamily="34" charset="0"/>
                  <a:buChar char="•"/>
                </a:pPr>
                <a:endParaRPr lang="en-GB" sz="1600" b="1" dirty="0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214313" indent="-214313" defTabSz="685800">
                  <a:spcAft>
                    <a:spcPts val="900"/>
                  </a:spcAft>
                  <a:buFont typeface="Arial" panose="020B0604020202020204" pitchFamily="34" charset="0"/>
                  <a:buChar char="•"/>
                </a:pPr>
                <a:r>
                  <a:rPr lang="en-GB" sz="1600" dirty="0">
                    <a:solidFill>
                      <a:prstClr val="black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Determining the correct value can be complex where, for example, there are numerous sales or a ‘principal’ company business model</a:t>
                </a:r>
              </a:p>
              <a:p>
                <a:pPr marL="214313" indent="-214313" defTabSz="685800">
                  <a:spcAft>
                    <a:spcPts val="900"/>
                  </a:spcAft>
                  <a:buFont typeface="Arial" panose="020B0604020202020204" pitchFamily="34" charset="0"/>
                  <a:buChar char="•"/>
                </a:pPr>
                <a:r>
                  <a:rPr lang="en-GB" sz="1600" dirty="0">
                    <a:solidFill>
                      <a:prstClr val="black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ustoms valuation methodology</a:t>
                </a:r>
              </a:p>
              <a:p>
                <a:pPr marL="214313" indent="-214313" defTabSz="685800">
                  <a:spcAft>
                    <a:spcPts val="900"/>
                  </a:spcAft>
                  <a:buFont typeface="Arial" panose="020B0604020202020204" pitchFamily="34" charset="0"/>
                  <a:buChar char="•"/>
                </a:pPr>
                <a:r>
                  <a:rPr lang="en-GB" sz="1600" dirty="0">
                    <a:solidFill>
                      <a:prstClr val="black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Interaction with Transfer Pricing</a:t>
                </a: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7616189" y="2631603"/>
                <a:ext cx="3058023" cy="602118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14313" indent="-214313" defTabSz="685800">
                  <a:spcAft>
                    <a:spcPts val="900"/>
                  </a:spcAft>
                  <a:buFont typeface="Arial" panose="020B0604020202020204" pitchFamily="34" charset="0"/>
                  <a:buChar char="•"/>
                </a:pPr>
                <a:endParaRPr lang="en-GB" sz="1600" dirty="0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214313" indent="-214313" defTabSz="685800">
                  <a:spcAft>
                    <a:spcPts val="900"/>
                  </a:spcAft>
                  <a:buFont typeface="Arial" panose="020B0604020202020204" pitchFamily="34" charset="0"/>
                  <a:buChar char="•"/>
                </a:pPr>
                <a:r>
                  <a:rPr lang="en-GB" sz="1600" dirty="0">
                    <a:solidFill>
                      <a:prstClr val="black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The origin of the product is important, particularly where there is an FTA in place and the origin of the product reduces the customs duty payable</a:t>
                </a:r>
              </a:p>
              <a:p>
                <a:pPr marL="214313" indent="-214313" defTabSz="685800">
                  <a:spcAft>
                    <a:spcPts val="900"/>
                  </a:spcAft>
                  <a:buFont typeface="Arial" panose="020B0604020202020204" pitchFamily="34" charset="0"/>
                  <a:buChar char="•"/>
                </a:pPr>
                <a:r>
                  <a:rPr lang="en-GB" sz="1600" dirty="0">
                    <a:solidFill>
                      <a:prstClr val="black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General and product-specific rules of origin</a:t>
                </a:r>
              </a:p>
              <a:p>
                <a:pPr marL="214313" indent="-214313" defTabSz="685800">
                  <a:spcAft>
                    <a:spcPts val="900"/>
                  </a:spcAft>
                  <a:buFont typeface="Arial" panose="020B0604020202020204" pitchFamily="34" charset="0"/>
                  <a:buChar char="•"/>
                </a:pPr>
                <a:r>
                  <a:rPr lang="en-GB" sz="1600" dirty="0">
                    <a:solidFill>
                      <a:prstClr val="black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Proof of origin</a:t>
                </a:r>
              </a:p>
              <a:p>
                <a:pPr marL="214313" indent="-214313" defTabSz="685800">
                  <a:spcAft>
                    <a:spcPts val="900"/>
                  </a:spcAft>
                  <a:buFont typeface="Arial" panose="020B0604020202020204" pitchFamily="34" charset="0"/>
                  <a:buChar char="•"/>
                </a:pPr>
                <a:r>
                  <a:rPr lang="en-GB" sz="1600" dirty="0">
                    <a:solidFill>
                      <a:prstClr val="black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Impact on sourcing strategy</a:t>
                </a:r>
              </a:p>
              <a:p>
                <a:pPr marL="214313" indent="-214313" defTabSz="685800">
                  <a:spcAft>
                    <a:spcPts val="900"/>
                  </a:spcAft>
                  <a:buFont typeface="Arial" panose="020B0604020202020204" pitchFamily="34" charset="0"/>
                  <a:buChar char="•"/>
                </a:pPr>
                <a:endParaRPr lang="en-GB" sz="1600" dirty="0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214313" indent="-214313" defTabSz="685800">
                  <a:spcAft>
                    <a:spcPts val="900"/>
                  </a:spcAft>
                  <a:buFont typeface="Arial" panose="020B0604020202020204" pitchFamily="34" charset="0"/>
                  <a:buChar char="•"/>
                </a:pPr>
                <a:endParaRPr lang="en-GB" sz="1600" dirty="0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9" name="Freeform 425">
              <a:extLst>
                <a:ext uri="{FF2B5EF4-FFF2-40B4-BE49-F238E27FC236}">
                  <a16:creationId xmlns:a16="http://schemas.microsoft.com/office/drawing/2014/main" id="{88B40971-7A3B-4113-8E28-0E811EF16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97578" y="2656777"/>
              <a:ext cx="434606" cy="539513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 dirty="0">
                <a:solidFill>
                  <a:prstClr val="black"/>
                </a:solidFill>
                <a:latin typeface="Verdana"/>
              </a:endParaRPr>
            </a:p>
          </p:txBody>
        </p:sp>
        <p:sp>
          <p:nvSpPr>
            <p:cNvPr id="10" name="Freeform 492">
              <a:extLst>
                <a:ext uri="{FF2B5EF4-FFF2-40B4-BE49-F238E27FC236}">
                  <a16:creationId xmlns:a16="http://schemas.microsoft.com/office/drawing/2014/main" id="{41190947-8BEE-4FB9-852F-3DC8947A29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73052" y="3111514"/>
              <a:ext cx="434606" cy="539513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350" dirty="0">
                <a:solidFill>
                  <a:prstClr val="black"/>
                </a:solidFill>
                <a:latin typeface="Verdana"/>
              </a:endParaRPr>
            </a:p>
          </p:txBody>
        </p:sp>
        <p:grpSp>
          <p:nvGrpSpPr>
            <p:cNvPr id="11" name="Group 407">
              <a:extLst>
                <a:ext uri="{FF2B5EF4-FFF2-40B4-BE49-F238E27FC236}">
                  <a16:creationId xmlns:a16="http://schemas.microsoft.com/office/drawing/2014/main" id="{5841B2D8-B138-4DCD-9522-D876AF25FDC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789669" y="3609921"/>
              <a:ext cx="434787" cy="540190"/>
              <a:chOff x="1898" y="1577"/>
              <a:chExt cx="264" cy="328"/>
            </a:xfrm>
            <a:solidFill>
              <a:schemeClr val="accent1"/>
            </a:solidFill>
          </p:grpSpPr>
          <p:sp>
            <p:nvSpPr>
              <p:cNvPr id="12" name="Freeform 408">
                <a:extLst>
                  <a:ext uri="{FF2B5EF4-FFF2-40B4-BE49-F238E27FC236}">
                    <a16:creationId xmlns:a16="http://schemas.microsoft.com/office/drawing/2014/main" id="{2E68E82A-F834-4C61-B065-D7E5929DA8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98" y="1577"/>
                <a:ext cx="264" cy="328"/>
              </a:xfrm>
              <a:custGeom>
                <a:avLst/>
                <a:gdLst>
                  <a:gd name="T0" fmla="*/ 256 w 512"/>
                  <a:gd name="T1" fmla="*/ 21 h 512"/>
                  <a:gd name="T2" fmla="*/ 490 w 512"/>
                  <a:gd name="T3" fmla="*/ 256 h 512"/>
                  <a:gd name="T4" fmla="*/ 256 w 512"/>
                  <a:gd name="T5" fmla="*/ 490 h 512"/>
                  <a:gd name="T6" fmla="*/ 21 w 512"/>
                  <a:gd name="T7" fmla="*/ 256 h 512"/>
                  <a:gd name="T8" fmla="*/ 256 w 512"/>
                  <a:gd name="T9" fmla="*/ 21 h 512"/>
                  <a:gd name="T10" fmla="*/ 256 w 512"/>
                  <a:gd name="T11" fmla="*/ 0 h 512"/>
                  <a:gd name="T12" fmla="*/ 0 w 512"/>
                  <a:gd name="T13" fmla="*/ 256 h 512"/>
                  <a:gd name="T14" fmla="*/ 256 w 512"/>
                  <a:gd name="T15" fmla="*/ 512 h 512"/>
                  <a:gd name="T16" fmla="*/ 512 w 512"/>
                  <a:gd name="T17" fmla="*/ 256 h 512"/>
                  <a:gd name="T18" fmla="*/ 256 w 512"/>
                  <a:gd name="T19" fmla="*/ 0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2" h="512">
                    <a:moveTo>
                      <a:pt x="256" y="21"/>
                    </a:moveTo>
                    <a:cubicBezTo>
                      <a:pt x="385" y="21"/>
                      <a:pt x="490" y="126"/>
                      <a:pt x="490" y="256"/>
                    </a:cubicBezTo>
                    <a:cubicBezTo>
                      <a:pt x="490" y="385"/>
                      <a:pt x="385" y="490"/>
                      <a:pt x="256" y="490"/>
                    </a:cubicBezTo>
                    <a:cubicBezTo>
                      <a:pt x="126" y="490"/>
                      <a:pt x="21" y="385"/>
                      <a:pt x="21" y="256"/>
                    </a:cubicBezTo>
                    <a:cubicBezTo>
                      <a:pt x="21" y="126"/>
                      <a:pt x="126" y="21"/>
                      <a:pt x="256" y="21"/>
                    </a:cubicBezTo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 dirty="0">
                  <a:solidFill>
                    <a:prstClr val="black"/>
                  </a:solidFill>
                  <a:latin typeface="Verdana"/>
                </a:endParaRPr>
              </a:p>
            </p:txBody>
          </p:sp>
          <p:sp>
            <p:nvSpPr>
              <p:cNvPr id="13" name="Freeform 409">
                <a:extLst>
                  <a:ext uri="{FF2B5EF4-FFF2-40B4-BE49-F238E27FC236}">
                    <a16:creationId xmlns:a16="http://schemas.microsoft.com/office/drawing/2014/main" id="{10B4CB58-F5B6-4C78-BFD6-4D515B90E9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49" y="1652"/>
                <a:ext cx="165" cy="178"/>
              </a:xfrm>
              <a:custGeom>
                <a:avLst/>
                <a:gdLst>
                  <a:gd name="T0" fmla="*/ 199 w 320"/>
                  <a:gd name="T1" fmla="*/ 227 h 277"/>
                  <a:gd name="T2" fmla="*/ 199 w 320"/>
                  <a:gd name="T3" fmla="*/ 242 h 277"/>
                  <a:gd name="T4" fmla="*/ 167 w 320"/>
                  <a:gd name="T5" fmla="*/ 274 h 277"/>
                  <a:gd name="T6" fmla="*/ 164 w 320"/>
                  <a:gd name="T7" fmla="*/ 276 h 277"/>
                  <a:gd name="T8" fmla="*/ 160 w 320"/>
                  <a:gd name="T9" fmla="*/ 277 h 277"/>
                  <a:gd name="T10" fmla="*/ 156 w 320"/>
                  <a:gd name="T11" fmla="*/ 276 h 277"/>
                  <a:gd name="T12" fmla="*/ 152 w 320"/>
                  <a:gd name="T13" fmla="*/ 274 h 277"/>
                  <a:gd name="T14" fmla="*/ 120 w 320"/>
                  <a:gd name="T15" fmla="*/ 242 h 277"/>
                  <a:gd name="T16" fmla="*/ 120 w 320"/>
                  <a:gd name="T17" fmla="*/ 227 h 277"/>
                  <a:gd name="T18" fmla="*/ 135 w 320"/>
                  <a:gd name="T19" fmla="*/ 227 h 277"/>
                  <a:gd name="T20" fmla="*/ 149 w 320"/>
                  <a:gd name="T21" fmla="*/ 241 h 277"/>
                  <a:gd name="T22" fmla="*/ 149 w 320"/>
                  <a:gd name="T23" fmla="*/ 117 h 277"/>
                  <a:gd name="T24" fmla="*/ 160 w 320"/>
                  <a:gd name="T25" fmla="*/ 106 h 277"/>
                  <a:gd name="T26" fmla="*/ 170 w 320"/>
                  <a:gd name="T27" fmla="*/ 117 h 277"/>
                  <a:gd name="T28" fmla="*/ 170 w 320"/>
                  <a:gd name="T29" fmla="*/ 241 h 277"/>
                  <a:gd name="T30" fmla="*/ 184 w 320"/>
                  <a:gd name="T31" fmla="*/ 227 h 277"/>
                  <a:gd name="T32" fmla="*/ 199 w 320"/>
                  <a:gd name="T33" fmla="*/ 227 h 277"/>
                  <a:gd name="T34" fmla="*/ 266 w 320"/>
                  <a:gd name="T35" fmla="*/ 85 h 277"/>
                  <a:gd name="T36" fmla="*/ 262 w 320"/>
                  <a:gd name="T37" fmla="*/ 85 h 277"/>
                  <a:gd name="T38" fmla="*/ 176 w 320"/>
                  <a:gd name="T39" fmla="*/ 0 h 277"/>
                  <a:gd name="T40" fmla="*/ 94 w 320"/>
                  <a:gd name="T41" fmla="*/ 55 h 277"/>
                  <a:gd name="T42" fmla="*/ 71 w 320"/>
                  <a:gd name="T43" fmla="*/ 50 h 277"/>
                  <a:gd name="T44" fmla="*/ 0 w 320"/>
                  <a:gd name="T45" fmla="*/ 121 h 277"/>
                  <a:gd name="T46" fmla="*/ 71 w 320"/>
                  <a:gd name="T47" fmla="*/ 192 h 277"/>
                  <a:gd name="T48" fmla="*/ 106 w 320"/>
                  <a:gd name="T49" fmla="*/ 192 h 277"/>
                  <a:gd name="T50" fmla="*/ 117 w 320"/>
                  <a:gd name="T51" fmla="*/ 181 h 277"/>
                  <a:gd name="T52" fmla="*/ 106 w 320"/>
                  <a:gd name="T53" fmla="*/ 170 h 277"/>
                  <a:gd name="T54" fmla="*/ 71 w 320"/>
                  <a:gd name="T55" fmla="*/ 170 h 277"/>
                  <a:gd name="T56" fmla="*/ 21 w 320"/>
                  <a:gd name="T57" fmla="*/ 121 h 277"/>
                  <a:gd name="T58" fmla="*/ 71 w 320"/>
                  <a:gd name="T59" fmla="*/ 71 h 277"/>
                  <a:gd name="T60" fmla="*/ 95 w 320"/>
                  <a:gd name="T61" fmla="*/ 79 h 277"/>
                  <a:gd name="T62" fmla="*/ 105 w 320"/>
                  <a:gd name="T63" fmla="*/ 80 h 277"/>
                  <a:gd name="T64" fmla="*/ 111 w 320"/>
                  <a:gd name="T65" fmla="*/ 73 h 277"/>
                  <a:gd name="T66" fmla="*/ 176 w 320"/>
                  <a:gd name="T67" fmla="*/ 21 h 277"/>
                  <a:gd name="T68" fmla="*/ 241 w 320"/>
                  <a:gd name="T69" fmla="*/ 86 h 277"/>
                  <a:gd name="T70" fmla="*/ 240 w 320"/>
                  <a:gd name="T71" fmla="*/ 94 h 277"/>
                  <a:gd name="T72" fmla="*/ 239 w 320"/>
                  <a:gd name="T73" fmla="*/ 99 h 277"/>
                  <a:gd name="T74" fmla="*/ 243 w 320"/>
                  <a:gd name="T75" fmla="*/ 109 h 277"/>
                  <a:gd name="T76" fmla="*/ 255 w 320"/>
                  <a:gd name="T77" fmla="*/ 110 h 277"/>
                  <a:gd name="T78" fmla="*/ 266 w 320"/>
                  <a:gd name="T79" fmla="*/ 106 h 277"/>
                  <a:gd name="T80" fmla="*/ 298 w 320"/>
                  <a:gd name="T81" fmla="*/ 138 h 277"/>
                  <a:gd name="T82" fmla="*/ 266 w 320"/>
                  <a:gd name="T83" fmla="*/ 170 h 277"/>
                  <a:gd name="T84" fmla="*/ 213 w 320"/>
                  <a:gd name="T85" fmla="*/ 170 h 277"/>
                  <a:gd name="T86" fmla="*/ 202 w 320"/>
                  <a:gd name="T87" fmla="*/ 181 h 277"/>
                  <a:gd name="T88" fmla="*/ 213 w 320"/>
                  <a:gd name="T89" fmla="*/ 192 h 277"/>
                  <a:gd name="T90" fmla="*/ 266 w 320"/>
                  <a:gd name="T91" fmla="*/ 192 h 277"/>
                  <a:gd name="T92" fmla="*/ 320 w 320"/>
                  <a:gd name="T93" fmla="*/ 138 h 277"/>
                  <a:gd name="T94" fmla="*/ 266 w 320"/>
                  <a:gd name="T95" fmla="*/ 85 h 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20" h="277">
                    <a:moveTo>
                      <a:pt x="199" y="227"/>
                    </a:moveTo>
                    <a:cubicBezTo>
                      <a:pt x="203" y="231"/>
                      <a:pt x="203" y="238"/>
                      <a:pt x="199" y="242"/>
                    </a:cubicBezTo>
                    <a:cubicBezTo>
                      <a:pt x="167" y="274"/>
                      <a:pt x="167" y="274"/>
                      <a:pt x="167" y="274"/>
                    </a:cubicBezTo>
                    <a:cubicBezTo>
                      <a:pt x="166" y="275"/>
                      <a:pt x="165" y="276"/>
                      <a:pt x="164" y="276"/>
                    </a:cubicBezTo>
                    <a:cubicBezTo>
                      <a:pt x="162" y="277"/>
                      <a:pt x="161" y="277"/>
                      <a:pt x="160" y="277"/>
                    </a:cubicBezTo>
                    <a:cubicBezTo>
                      <a:pt x="158" y="277"/>
                      <a:pt x="157" y="277"/>
                      <a:pt x="156" y="276"/>
                    </a:cubicBezTo>
                    <a:cubicBezTo>
                      <a:pt x="154" y="276"/>
                      <a:pt x="153" y="275"/>
                      <a:pt x="152" y="274"/>
                    </a:cubicBezTo>
                    <a:cubicBezTo>
                      <a:pt x="120" y="242"/>
                      <a:pt x="120" y="242"/>
                      <a:pt x="120" y="242"/>
                    </a:cubicBezTo>
                    <a:cubicBezTo>
                      <a:pt x="116" y="238"/>
                      <a:pt x="116" y="231"/>
                      <a:pt x="120" y="227"/>
                    </a:cubicBezTo>
                    <a:cubicBezTo>
                      <a:pt x="124" y="223"/>
                      <a:pt x="131" y="223"/>
                      <a:pt x="135" y="227"/>
                    </a:cubicBezTo>
                    <a:cubicBezTo>
                      <a:pt x="149" y="241"/>
                      <a:pt x="149" y="241"/>
                      <a:pt x="149" y="241"/>
                    </a:cubicBezTo>
                    <a:cubicBezTo>
                      <a:pt x="149" y="117"/>
                      <a:pt x="149" y="117"/>
                      <a:pt x="149" y="117"/>
                    </a:cubicBezTo>
                    <a:cubicBezTo>
                      <a:pt x="149" y="111"/>
                      <a:pt x="154" y="106"/>
                      <a:pt x="160" y="106"/>
                    </a:cubicBezTo>
                    <a:cubicBezTo>
                      <a:pt x="166" y="106"/>
                      <a:pt x="170" y="111"/>
                      <a:pt x="170" y="117"/>
                    </a:cubicBezTo>
                    <a:cubicBezTo>
                      <a:pt x="170" y="241"/>
                      <a:pt x="170" y="241"/>
                      <a:pt x="170" y="241"/>
                    </a:cubicBezTo>
                    <a:cubicBezTo>
                      <a:pt x="184" y="227"/>
                      <a:pt x="184" y="227"/>
                      <a:pt x="184" y="227"/>
                    </a:cubicBezTo>
                    <a:cubicBezTo>
                      <a:pt x="188" y="223"/>
                      <a:pt x="195" y="223"/>
                      <a:pt x="199" y="227"/>
                    </a:cubicBezTo>
                    <a:close/>
                    <a:moveTo>
                      <a:pt x="266" y="85"/>
                    </a:moveTo>
                    <a:cubicBezTo>
                      <a:pt x="265" y="85"/>
                      <a:pt x="264" y="85"/>
                      <a:pt x="262" y="85"/>
                    </a:cubicBezTo>
                    <a:cubicBezTo>
                      <a:pt x="262" y="38"/>
                      <a:pt x="223" y="0"/>
                      <a:pt x="176" y="0"/>
                    </a:cubicBezTo>
                    <a:cubicBezTo>
                      <a:pt x="139" y="0"/>
                      <a:pt x="107" y="22"/>
                      <a:pt x="94" y="55"/>
                    </a:cubicBezTo>
                    <a:cubicBezTo>
                      <a:pt x="87" y="52"/>
                      <a:pt x="80" y="50"/>
                      <a:pt x="71" y="50"/>
                    </a:cubicBezTo>
                    <a:cubicBezTo>
                      <a:pt x="31" y="50"/>
                      <a:pt x="0" y="82"/>
                      <a:pt x="0" y="121"/>
                    </a:cubicBezTo>
                    <a:cubicBezTo>
                      <a:pt x="0" y="160"/>
                      <a:pt x="31" y="192"/>
                      <a:pt x="71" y="192"/>
                    </a:cubicBezTo>
                    <a:cubicBezTo>
                      <a:pt x="106" y="192"/>
                      <a:pt x="106" y="192"/>
                      <a:pt x="106" y="192"/>
                    </a:cubicBezTo>
                    <a:cubicBezTo>
                      <a:pt x="112" y="192"/>
                      <a:pt x="117" y="187"/>
                      <a:pt x="117" y="181"/>
                    </a:cubicBezTo>
                    <a:cubicBezTo>
                      <a:pt x="117" y="175"/>
                      <a:pt x="112" y="170"/>
                      <a:pt x="106" y="170"/>
                    </a:cubicBezTo>
                    <a:cubicBezTo>
                      <a:pt x="71" y="170"/>
                      <a:pt x="71" y="170"/>
                      <a:pt x="71" y="170"/>
                    </a:cubicBezTo>
                    <a:cubicBezTo>
                      <a:pt x="43" y="170"/>
                      <a:pt x="21" y="148"/>
                      <a:pt x="21" y="121"/>
                    </a:cubicBezTo>
                    <a:cubicBezTo>
                      <a:pt x="21" y="93"/>
                      <a:pt x="43" y="71"/>
                      <a:pt x="71" y="71"/>
                    </a:cubicBezTo>
                    <a:cubicBezTo>
                      <a:pt x="80" y="71"/>
                      <a:pt x="87" y="74"/>
                      <a:pt x="95" y="79"/>
                    </a:cubicBezTo>
                    <a:cubicBezTo>
                      <a:pt x="98" y="81"/>
                      <a:pt x="101" y="82"/>
                      <a:pt x="105" y="80"/>
                    </a:cubicBezTo>
                    <a:cubicBezTo>
                      <a:pt x="108" y="79"/>
                      <a:pt x="110" y="76"/>
                      <a:pt x="111" y="73"/>
                    </a:cubicBezTo>
                    <a:cubicBezTo>
                      <a:pt x="117" y="43"/>
                      <a:pt x="145" y="21"/>
                      <a:pt x="176" y="21"/>
                    </a:cubicBezTo>
                    <a:cubicBezTo>
                      <a:pt x="212" y="21"/>
                      <a:pt x="241" y="50"/>
                      <a:pt x="241" y="86"/>
                    </a:cubicBezTo>
                    <a:cubicBezTo>
                      <a:pt x="241" y="89"/>
                      <a:pt x="240" y="91"/>
                      <a:pt x="240" y="94"/>
                    </a:cubicBezTo>
                    <a:cubicBezTo>
                      <a:pt x="240" y="96"/>
                      <a:pt x="240" y="97"/>
                      <a:pt x="239" y="99"/>
                    </a:cubicBezTo>
                    <a:cubicBezTo>
                      <a:pt x="238" y="103"/>
                      <a:pt x="240" y="107"/>
                      <a:pt x="243" y="109"/>
                    </a:cubicBezTo>
                    <a:cubicBezTo>
                      <a:pt x="247" y="112"/>
                      <a:pt x="251" y="112"/>
                      <a:pt x="255" y="110"/>
                    </a:cubicBezTo>
                    <a:cubicBezTo>
                      <a:pt x="261" y="107"/>
                      <a:pt x="265" y="106"/>
                      <a:pt x="266" y="106"/>
                    </a:cubicBezTo>
                    <a:cubicBezTo>
                      <a:pt x="284" y="106"/>
                      <a:pt x="298" y="121"/>
                      <a:pt x="298" y="138"/>
                    </a:cubicBezTo>
                    <a:cubicBezTo>
                      <a:pt x="298" y="156"/>
                      <a:pt x="284" y="170"/>
                      <a:pt x="266" y="170"/>
                    </a:cubicBezTo>
                    <a:cubicBezTo>
                      <a:pt x="213" y="170"/>
                      <a:pt x="213" y="170"/>
                      <a:pt x="213" y="170"/>
                    </a:cubicBezTo>
                    <a:cubicBezTo>
                      <a:pt x="207" y="170"/>
                      <a:pt x="202" y="175"/>
                      <a:pt x="202" y="181"/>
                    </a:cubicBezTo>
                    <a:cubicBezTo>
                      <a:pt x="202" y="187"/>
                      <a:pt x="207" y="192"/>
                      <a:pt x="213" y="192"/>
                    </a:cubicBezTo>
                    <a:cubicBezTo>
                      <a:pt x="266" y="192"/>
                      <a:pt x="266" y="192"/>
                      <a:pt x="266" y="192"/>
                    </a:cubicBezTo>
                    <a:cubicBezTo>
                      <a:pt x="296" y="192"/>
                      <a:pt x="320" y="168"/>
                      <a:pt x="320" y="138"/>
                    </a:cubicBezTo>
                    <a:cubicBezTo>
                      <a:pt x="320" y="109"/>
                      <a:pt x="296" y="85"/>
                      <a:pt x="26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GB" sz="1350" dirty="0">
                  <a:solidFill>
                    <a:prstClr val="black"/>
                  </a:solidFill>
                  <a:latin typeface="Verdana"/>
                </a:endParaRPr>
              </a:p>
            </p:txBody>
          </p:sp>
        </p:grpSp>
      </p:grpSp>
      <p:sp>
        <p:nvSpPr>
          <p:cNvPr id="21" name="Freeform 424">
            <a:extLst>
              <a:ext uri="{FF2B5EF4-FFF2-40B4-BE49-F238E27FC236}">
                <a16:creationId xmlns:a16="http://schemas.microsoft.com/office/drawing/2014/main" id="{3FF4ADB9-E61E-4A84-B630-1AF8A4BE17B0}"/>
              </a:ext>
            </a:extLst>
          </p:cNvPr>
          <p:cNvSpPr>
            <a:spLocks/>
          </p:cNvSpPr>
          <p:nvPr/>
        </p:nvSpPr>
        <p:spPr bwMode="auto">
          <a:xfrm>
            <a:off x="5678186" y="2382590"/>
            <a:ext cx="210127" cy="313711"/>
          </a:xfrm>
          <a:custGeom>
            <a:avLst/>
            <a:gdLst>
              <a:gd name="T0" fmla="*/ 203 w 214"/>
              <a:gd name="T1" fmla="*/ 298 h 320"/>
              <a:gd name="T2" fmla="*/ 43 w 214"/>
              <a:gd name="T3" fmla="*/ 298 h 320"/>
              <a:gd name="T4" fmla="*/ 82 w 214"/>
              <a:gd name="T5" fmla="*/ 170 h 320"/>
              <a:gd name="T6" fmla="*/ 139 w 214"/>
              <a:gd name="T7" fmla="*/ 170 h 320"/>
              <a:gd name="T8" fmla="*/ 150 w 214"/>
              <a:gd name="T9" fmla="*/ 160 h 320"/>
              <a:gd name="T10" fmla="*/ 139 w 214"/>
              <a:gd name="T11" fmla="*/ 149 h 320"/>
              <a:gd name="T12" fmla="*/ 69 w 214"/>
              <a:gd name="T13" fmla="*/ 149 h 320"/>
              <a:gd name="T14" fmla="*/ 43 w 214"/>
              <a:gd name="T15" fmla="*/ 96 h 320"/>
              <a:gd name="T16" fmla="*/ 118 w 214"/>
              <a:gd name="T17" fmla="*/ 21 h 320"/>
              <a:gd name="T18" fmla="*/ 192 w 214"/>
              <a:gd name="T19" fmla="*/ 96 h 320"/>
              <a:gd name="T20" fmla="*/ 203 w 214"/>
              <a:gd name="T21" fmla="*/ 106 h 320"/>
              <a:gd name="T22" fmla="*/ 214 w 214"/>
              <a:gd name="T23" fmla="*/ 96 h 320"/>
              <a:gd name="T24" fmla="*/ 118 w 214"/>
              <a:gd name="T25" fmla="*/ 0 h 320"/>
              <a:gd name="T26" fmla="*/ 22 w 214"/>
              <a:gd name="T27" fmla="*/ 96 h 320"/>
              <a:gd name="T28" fmla="*/ 40 w 214"/>
              <a:gd name="T29" fmla="*/ 149 h 320"/>
              <a:gd name="T30" fmla="*/ 11 w 214"/>
              <a:gd name="T31" fmla="*/ 149 h 320"/>
              <a:gd name="T32" fmla="*/ 0 w 214"/>
              <a:gd name="T33" fmla="*/ 160 h 320"/>
              <a:gd name="T34" fmla="*/ 11 w 214"/>
              <a:gd name="T35" fmla="*/ 170 h 320"/>
              <a:gd name="T36" fmla="*/ 59 w 214"/>
              <a:gd name="T37" fmla="*/ 170 h 320"/>
              <a:gd name="T38" fmla="*/ 18 w 214"/>
              <a:gd name="T39" fmla="*/ 296 h 320"/>
              <a:gd name="T40" fmla="*/ 13 w 214"/>
              <a:gd name="T41" fmla="*/ 303 h 320"/>
              <a:gd name="T42" fmla="*/ 12 w 214"/>
              <a:gd name="T43" fmla="*/ 314 h 320"/>
              <a:gd name="T44" fmla="*/ 22 w 214"/>
              <a:gd name="T45" fmla="*/ 320 h 320"/>
              <a:gd name="T46" fmla="*/ 203 w 214"/>
              <a:gd name="T47" fmla="*/ 320 h 320"/>
              <a:gd name="T48" fmla="*/ 214 w 214"/>
              <a:gd name="T49" fmla="*/ 309 h 320"/>
              <a:gd name="T50" fmla="*/ 203 w 214"/>
              <a:gd name="T51" fmla="*/ 29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14" h="320">
                <a:moveTo>
                  <a:pt x="203" y="298"/>
                </a:moveTo>
                <a:cubicBezTo>
                  <a:pt x="43" y="298"/>
                  <a:pt x="43" y="298"/>
                  <a:pt x="43" y="298"/>
                </a:cubicBezTo>
                <a:cubicBezTo>
                  <a:pt x="65" y="270"/>
                  <a:pt x="100" y="216"/>
                  <a:pt x="82" y="170"/>
                </a:cubicBezTo>
                <a:cubicBezTo>
                  <a:pt x="139" y="170"/>
                  <a:pt x="139" y="170"/>
                  <a:pt x="139" y="170"/>
                </a:cubicBezTo>
                <a:cubicBezTo>
                  <a:pt x="145" y="170"/>
                  <a:pt x="150" y="166"/>
                  <a:pt x="150" y="160"/>
                </a:cubicBezTo>
                <a:cubicBezTo>
                  <a:pt x="150" y="154"/>
                  <a:pt x="145" y="149"/>
                  <a:pt x="139" y="149"/>
                </a:cubicBezTo>
                <a:cubicBezTo>
                  <a:pt x="69" y="149"/>
                  <a:pt x="69" y="149"/>
                  <a:pt x="69" y="149"/>
                </a:cubicBezTo>
                <a:cubicBezTo>
                  <a:pt x="52" y="134"/>
                  <a:pt x="43" y="114"/>
                  <a:pt x="43" y="96"/>
                </a:cubicBezTo>
                <a:cubicBezTo>
                  <a:pt x="43" y="54"/>
                  <a:pt x="76" y="21"/>
                  <a:pt x="118" y="21"/>
                </a:cubicBezTo>
                <a:cubicBezTo>
                  <a:pt x="159" y="21"/>
                  <a:pt x="192" y="54"/>
                  <a:pt x="192" y="96"/>
                </a:cubicBezTo>
                <a:cubicBezTo>
                  <a:pt x="192" y="102"/>
                  <a:pt x="197" y="106"/>
                  <a:pt x="203" y="106"/>
                </a:cubicBezTo>
                <a:cubicBezTo>
                  <a:pt x="209" y="106"/>
                  <a:pt x="214" y="102"/>
                  <a:pt x="214" y="96"/>
                </a:cubicBezTo>
                <a:cubicBezTo>
                  <a:pt x="214" y="43"/>
                  <a:pt x="171" y="0"/>
                  <a:pt x="118" y="0"/>
                </a:cubicBezTo>
                <a:cubicBezTo>
                  <a:pt x="65" y="0"/>
                  <a:pt x="22" y="43"/>
                  <a:pt x="22" y="96"/>
                </a:cubicBezTo>
                <a:cubicBezTo>
                  <a:pt x="22" y="114"/>
                  <a:pt x="28" y="133"/>
                  <a:pt x="40" y="149"/>
                </a:cubicBezTo>
                <a:cubicBezTo>
                  <a:pt x="11" y="149"/>
                  <a:pt x="11" y="149"/>
                  <a:pt x="11" y="149"/>
                </a:cubicBezTo>
                <a:cubicBezTo>
                  <a:pt x="5" y="149"/>
                  <a:pt x="0" y="154"/>
                  <a:pt x="0" y="160"/>
                </a:cubicBezTo>
                <a:cubicBezTo>
                  <a:pt x="0" y="166"/>
                  <a:pt x="5" y="170"/>
                  <a:pt x="11" y="170"/>
                </a:cubicBezTo>
                <a:cubicBezTo>
                  <a:pt x="59" y="170"/>
                  <a:pt x="59" y="170"/>
                  <a:pt x="59" y="170"/>
                </a:cubicBezTo>
                <a:cubicBezTo>
                  <a:pt x="76" y="198"/>
                  <a:pt x="62" y="241"/>
                  <a:pt x="18" y="296"/>
                </a:cubicBezTo>
                <a:cubicBezTo>
                  <a:pt x="15" y="300"/>
                  <a:pt x="14" y="302"/>
                  <a:pt x="13" y="303"/>
                </a:cubicBezTo>
                <a:cubicBezTo>
                  <a:pt x="11" y="306"/>
                  <a:pt x="10" y="311"/>
                  <a:pt x="12" y="314"/>
                </a:cubicBezTo>
                <a:cubicBezTo>
                  <a:pt x="14" y="318"/>
                  <a:pt x="18" y="320"/>
                  <a:pt x="22" y="320"/>
                </a:cubicBezTo>
                <a:cubicBezTo>
                  <a:pt x="203" y="320"/>
                  <a:pt x="203" y="320"/>
                  <a:pt x="203" y="320"/>
                </a:cubicBezTo>
                <a:cubicBezTo>
                  <a:pt x="209" y="320"/>
                  <a:pt x="214" y="315"/>
                  <a:pt x="214" y="309"/>
                </a:cubicBezTo>
                <a:cubicBezTo>
                  <a:pt x="214" y="303"/>
                  <a:pt x="209" y="298"/>
                  <a:pt x="203" y="298"/>
                </a:cubicBezTo>
                <a:close/>
              </a:path>
            </a:pathLst>
          </a:custGeom>
          <a:solidFill>
            <a:srgbClr val="FFCD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22" name="Freeform 54">
            <a:extLst>
              <a:ext uri="{FF2B5EF4-FFF2-40B4-BE49-F238E27FC236}">
                <a16:creationId xmlns:a16="http://schemas.microsoft.com/office/drawing/2014/main" id="{F5ECF08A-499F-4ACE-B81B-32C57A52DE54}"/>
              </a:ext>
            </a:extLst>
          </p:cNvPr>
          <p:cNvSpPr>
            <a:spLocks noEditPoints="1"/>
          </p:cNvSpPr>
          <p:nvPr/>
        </p:nvSpPr>
        <p:spPr bwMode="auto">
          <a:xfrm>
            <a:off x="8742358" y="1799026"/>
            <a:ext cx="381941" cy="397102"/>
          </a:xfrm>
          <a:custGeom>
            <a:avLst/>
            <a:gdLst>
              <a:gd name="T0" fmla="*/ 160 w 320"/>
              <a:gd name="T1" fmla="*/ 0 h 320"/>
              <a:gd name="T2" fmla="*/ 0 w 320"/>
              <a:gd name="T3" fmla="*/ 160 h 320"/>
              <a:gd name="T4" fmla="*/ 160 w 320"/>
              <a:gd name="T5" fmla="*/ 320 h 320"/>
              <a:gd name="T6" fmla="*/ 320 w 320"/>
              <a:gd name="T7" fmla="*/ 160 h 320"/>
              <a:gd name="T8" fmla="*/ 160 w 320"/>
              <a:gd name="T9" fmla="*/ 0 h 320"/>
              <a:gd name="T10" fmla="*/ 283 w 320"/>
              <a:gd name="T11" fmla="*/ 224 h 320"/>
              <a:gd name="T12" fmla="*/ 218 w 320"/>
              <a:gd name="T13" fmla="*/ 224 h 320"/>
              <a:gd name="T14" fmla="*/ 223 w 320"/>
              <a:gd name="T15" fmla="*/ 170 h 320"/>
              <a:gd name="T16" fmla="*/ 298 w 320"/>
              <a:gd name="T17" fmla="*/ 170 h 320"/>
              <a:gd name="T18" fmla="*/ 283 w 320"/>
              <a:gd name="T19" fmla="*/ 224 h 320"/>
              <a:gd name="T20" fmla="*/ 160 w 320"/>
              <a:gd name="T21" fmla="*/ 298 h 320"/>
              <a:gd name="T22" fmla="*/ 127 w 320"/>
              <a:gd name="T23" fmla="*/ 245 h 320"/>
              <a:gd name="T24" fmla="*/ 192 w 320"/>
              <a:gd name="T25" fmla="*/ 245 h 320"/>
              <a:gd name="T26" fmla="*/ 160 w 320"/>
              <a:gd name="T27" fmla="*/ 298 h 320"/>
              <a:gd name="T28" fmla="*/ 122 w 320"/>
              <a:gd name="T29" fmla="*/ 224 h 320"/>
              <a:gd name="T30" fmla="*/ 117 w 320"/>
              <a:gd name="T31" fmla="*/ 170 h 320"/>
              <a:gd name="T32" fmla="*/ 202 w 320"/>
              <a:gd name="T33" fmla="*/ 170 h 320"/>
              <a:gd name="T34" fmla="*/ 197 w 320"/>
              <a:gd name="T35" fmla="*/ 224 h 320"/>
              <a:gd name="T36" fmla="*/ 122 w 320"/>
              <a:gd name="T37" fmla="*/ 224 h 320"/>
              <a:gd name="T38" fmla="*/ 22 w 320"/>
              <a:gd name="T39" fmla="*/ 170 h 320"/>
              <a:gd name="T40" fmla="*/ 96 w 320"/>
              <a:gd name="T41" fmla="*/ 170 h 320"/>
              <a:gd name="T42" fmla="*/ 101 w 320"/>
              <a:gd name="T43" fmla="*/ 224 h 320"/>
              <a:gd name="T44" fmla="*/ 37 w 320"/>
              <a:gd name="T45" fmla="*/ 224 h 320"/>
              <a:gd name="T46" fmla="*/ 22 w 320"/>
              <a:gd name="T47" fmla="*/ 170 h 320"/>
              <a:gd name="T48" fmla="*/ 37 w 320"/>
              <a:gd name="T49" fmla="*/ 96 h 320"/>
              <a:gd name="T50" fmla="*/ 101 w 320"/>
              <a:gd name="T51" fmla="*/ 96 h 320"/>
              <a:gd name="T52" fmla="*/ 96 w 320"/>
              <a:gd name="T53" fmla="*/ 149 h 320"/>
              <a:gd name="T54" fmla="*/ 22 w 320"/>
              <a:gd name="T55" fmla="*/ 149 h 320"/>
              <a:gd name="T56" fmla="*/ 37 w 320"/>
              <a:gd name="T57" fmla="*/ 96 h 320"/>
              <a:gd name="T58" fmla="*/ 160 w 320"/>
              <a:gd name="T59" fmla="*/ 21 h 320"/>
              <a:gd name="T60" fmla="*/ 192 w 320"/>
              <a:gd name="T61" fmla="*/ 74 h 320"/>
              <a:gd name="T62" fmla="*/ 127 w 320"/>
              <a:gd name="T63" fmla="*/ 74 h 320"/>
              <a:gd name="T64" fmla="*/ 160 w 320"/>
              <a:gd name="T65" fmla="*/ 21 h 320"/>
              <a:gd name="T66" fmla="*/ 197 w 320"/>
              <a:gd name="T67" fmla="*/ 96 h 320"/>
              <a:gd name="T68" fmla="*/ 202 w 320"/>
              <a:gd name="T69" fmla="*/ 149 h 320"/>
              <a:gd name="T70" fmla="*/ 117 w 320"/>
              <a:gd name="T71" fmla="*/ 149 h 320"/>
              <a:gd name="T72" fmla="*/ 122 w 320"/>
              <a:gd name="T73" fmla="*/ 96 h 320"/>
              <a:gd name="T74" fmla="*/ 197 w 320"/>
              <a:gd name="T75" fmla="*/ 96 h 320"/>
              <a:gd name="T76" fmla="*/ 223 w 320"/>
              <a:gd name="T77" fmla="*/ 149 h 320"/>
              <a:gd name="T78" fmla="*/ 218 w 320"/>
              <a:gd name="T79" fmla="*/ 96 h 320"/>
              <a:gd name="T80" fmla="*/ 283 w 320"/>
              <a:gd name="T81" fmla="*/ 96 h 320"/>
              <a:gd name="T82" fmla="*/ 298 w 320"/>
              <a:gd name="T83" fmla="*/ 149 h 320"/>
              <a:gd name="T84" fmla="*/ 223 w 320"/>
              <a:gd name="T85" fmla="*/ 149 h 320"/>
              <a:gd name="T86" fmla="*/ 269 w 320"/>
              <a:gd name="T87" fmla="*/ 74 h 320"/>
              <a:gd name="T88" fmla="*/ 214 w 320"/>
              <a:gd name="T89" fmla="*/ 74 h 320"/>
              <a:gd name="T90" fmla="*/ 196 w 320"/>
              <a:gd name="T91" fmla="*/ 26 h 320"/>
              <a:gd name="T92" fmla="*/ 269 w 320"/>
              <a:gd name="T93" fmla="*/ 74 h 320"/>
              <a:gd name="T94" fmla="*/ 124 w 320"/>
              <a:gd name="T95" fmla="*/ 26 h 320"/>
              <a:gd name="T96" fmla="*/ 105 w 320"/>
              <a:gd name="T97" fmla="*/ 74 h 320"/>
              <a:gd name="T98" fmla="*/ 51 w 320"/>
              <a:gd name="T99" fmla="*/ 74 h 320"/>
              <a:gd name="T100" fmla="*/ 124 w 320"/>
              <a:gd name="T101" fmla="*/ 26 h 320"/>
              <a:gd name="T102" fmla="*/ 51 w 320"/>
              <a:gd name="T103" fmla="*/ 245 h 320"/>
              <a:gd name="T104" fmla="*/ 105 w 320"/>
              <a:gd name="T105" fmla="*/ 245 h 320"/>
              <a:gd name="T106" fmla="*/ 124 w 320"/>
              <a:gd name="T107" fmla="*/ 293 h 320"/>
              <a:gd name="T108" fmla="*/ 51 w 320"/>
              <a:gd name="T109" fmla="*/ 245 h 320"/>
              <a:gd name="T110" fmla="*/ 196 w 320"/>
              <a:gd name="T111" fmla="*/ 293 h 320"/>
              <a:gd name="T112" fmla="*/ 214 w 320"/>
              <a:gd name="T113" fmla="*/ 245 h 320"/>
              <a:gd name="T114" fmla="*/ 269 w 320"/>
              <a:gd name="T115" fmla="*/ 245 h 320"/>
              <a:gd name="T116" fmla="*/ 196 w 320"/>
              <a:gd name="T117" fmla="*/ 293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20" h="320">
                <a:moveTo>
                  <a:pt x="160" y="0"/>
                </a:moveTo>
                <a:cubicBezTo>
                  <a:pt x="71" y="0"/>
                  <a:pt x="0" y="71"/>
                  <a:pt x="0" y="160"/>
                </a:cubicBezTo>
                <a:cubicBezTo>
                  <a:pt x="0" y="248"/>
                  <a:pt x="71" y="320"/>
                  <a:pt x="160" y="320"/>
                </a:cubicBezTo>
                <a:cubicBezTo>
                  <a:pt x="248" y="320"/>
                  <a:pt x="320" y="248"/>
                  <a:pt x="320" y="160"/>
                </a:cubicBezTo>
                <a:cubicBezTo>
                  <a:pt x="320" y="71"/>
                  <a:pt x="248" y="0"/>
                  <a:pt x="160" y="0"/>
                </a:cubicBezTo>
                <a:close/>
                <a:moveTo>
                  <a:pt x="283" y="224"/>
                </a:moveTo>
                <a:cubicBezTo>
                  <a:pt x="218" y="224"/>
                  <a:pt x="218" y="224"/>
                  <a:pt x="218" y="224"/>
                </a:cubicBezTo>
                <a:cubicBezTo>
                  <a:pt x="221" y="207"/>
                  <a:pt x="223" y="188"/>
                  <a:pt x="223" y="170"/>
                </a:cubicBezTo>
                <a:cubicBezTo>
                  <a:pt x="298" y="170"/>
                  <a:pt x="298" y="170"/>
                  <a:pt x="298" y="170"/>
                </a:cubicBezTo>
                <a:cubicBezTo>
                  <a:pt x="296" y="189"/>
                  <a:pt x="291" y="207"/>
                  <a:pt x="283" y="224"/>
                </a:cubicBezTo>
                <a:close/>
                <a:moveTo>
                  <a:pt x="160" y="298"/>
                </a:moveTo>
                <a:cubicBezTo>
                  <a:pt x="149" y="298"/>
                  <a:pt x="136" y="279"/>
                  <a:pt x="127" y="245"/>
                </a:cubicBezTo>
                <a:cubicBezTo>
                  <a:pt x="192" y="245"/>
                  <a:pt x="192" y="245"/>
                  <a:pt x="192" y="245"/>
                </a:cubicBezTo>
                <a:cubicBezTo>
                  <a:pt x="183" y="279"/>
                  <a:pt x="170" y="298"/>
                  <a:pt x="160" y="298"/>
                </a:cubicBezTo>
                <a:close/>
                <a:moveTo>
                  <a:pt x="122" y="224"/>
                </a:moveTo>
                <a:cubicBezTo>
                  <a:pt x="120" y="208"/>
                  <a:pt x="118" y="190"/>
                  <a:pt x="117" y="170"/>
                </a:cubicBezTo>
                <a:cubicBezTo>
                  <a:pt x="202" y="170"/>
                  <a:pt x="202" y="170"/>
                  <a:pt x="202" y="170"/>
                </a:cubicBezTo>
                <a:cubicBezTo>
                  <a:pt x="202" y="190"/>
                  <a:pt x="200" y="208"/>
                  <a:pt x="197" y="224"/>
                </a:cubicBezTo>
                <a:lnTo>
                  <a:pt x="122" y="224"/>
                </a:lnTo>
                <a:close/>
                <a:moveTo>
                  <a:pt x="22" y="170"/>
                </a:moveTo>
                <a:cubicBezTo>
                  <a:pt x="96" y="170"/>
                  <a:pt x="96" y="170"/>
                  <a:pt x="96" y="170"/>
                </a:cubicBezTo>
                <a:cubicBezTo>
                  <a:pt x="96" y="188"/>
                  <a:pt x="98" y="207"/>
                  <a:pt x="101" y="224"/>
                </a:cubicBezTo>
                <a:cubicBezTo>
                  <a:pt x="37" y="224"/>
                  <a:pt x="37" y="224"/>
                  <a:pt x="37" y="224"/>
                </a:cubicBezTo>
                <a:cubicBezTo>
                  <a:pt x="28" y="207"/>
                  <a:pt x="23" y="189"/>
                  <a:pt x="22" y="170"/>
                </a:cubicBezTo>
                <a:close/>
                <a:moveTo>
                  <a:pt x="37" y="96"/>
                </a:moveTo>
                <a:cubicBezTo>
                  <a:pt x="101" y="96"/>
                  <a:pt x="101" y="96"/>
                  <a:pt x="101" y="96"/>
                </a:cubicBezTo>
                <a:cubicBezTo>
                  <a:pt x="98" y="113"/>
                  <a:pt x="96" y="131"/>
                  <a:pt x="96" y="149"/>
                </a:cubicBezTo>
                <a:cubicBezTo>
                  <a:pt x="22" y="149"/>
                  <a:pt x="22" y="149"/>
                  <a:pt x="22" y="149"/>
                </a:cubicBezTo>
                <a:cubicBezTo>
                  <a:pt x="23" y="130"/>
                  <a:pt x="28" y="112"/>
                  <a:pt x="37" y="96"/>
                </a:cubicBezTo>
                <a:close/>
                <a:moveTo>
                  <a:pt x="160" y="21"/>
                </a:moveTo>
                <a:cubicBezTo>
                  <a:pt x="170" y="21"/>
                  <a:pt x="183" y="41"/>
                  <a:pt x="192" y="74"/>
                </a:cubicBezTo>
                <a:cubicBezTo>
                  <a:pt x="127" y="74"/>
                  <a:pt x="127" y="74"/>
                  <a:pt x="127" y="74"/>
                </a:cubicBezTo>
                <a:cubicBezTo>
                  <a:pt x="136" y="41"/>
                  <a:pt x="149" y="21"/>
                  <a:pt x="160" y="21"/>
                </a:cubicBezTo>
                <a:close/>
                <a:moveTo>
                  <a:pt x="197" y="96"/>
                </a:moveTo>
                <a:cubicBezTo>
                  <a:pt x="200" y="111"/>
                  <a:pt x="202" y="129"/>
                  <a:pt x="202" y="149"/>
                </a:cubicBezTo>
                <a:cubicBezTo>
                  <a:pt x="117" y="149"/>
                  <a:pt x="117" y="149"/>
                  <a:pt x="117" y="149"/>
                </a:cubicBezTo>
                <a:cubicBezTo>
                  <a:pt x="118" y="129"/>
                  <a:pt x="120" y="111"/>
                  <a:pt x="122" y="96"/>
                </a:cubicBezTo>
                <a:lnTo>
                  <a:pt x="197" y="96"/>
                </a:lnTo>
                <a:close/>
                <a:moveTo>
                  <a:pt x="223" y="149"/>
                </a:moveTo>
                <a:cubicBezTo>
                  <a:pt x="223" y="131"/>
                  <a:pt x="221" y="113"/>
                  <a:pt x="218" y="96"/>
                </a:cubicBezTo>
                <a:cubicBezTo>
                  <a:pt x="283" y="96"/>
                  <a:pt x="283" y="96"/>
                  <a:pt x="283" y="96"/>
                </a:cubicBezTo>
                <a:cubicBezTo>
                  <a:pt x="291" y="112"/>
                  <a:pt x="296" y="130"/>
                  <a:pt x="298" y="149"/>
                </a:cubicBezTo>
                <a:lnTo>
                  <a:pt x="223" y="149"/>
                </a:lnTo>
                <a:close/>
                <a:moveTo>
                  <a:pt x="269" y="74"/>
                </a:moveTo>
                <a:cubicBezTo>
                  <a:pt x="214" y="74"/>
                  <a:pt x="214" y="74"/>
                  <a:pt x="214" y="74"/>
                </a:cubicBezTo>
                <a:cubicBezTo>
                  <a:pt x="210" y="55"/>
                  <a:pt x="203" y="39"/>
                  <a:pt x="196" y="26"/>
                </a:cubicBezTo>
                <a:cubicBezTo>
                  <a:pt x="225" y="34"/>
                  <a:pt x="251" y="51"/>
                  <a:pt x="269" y="74"/>
                </a:cubicBezTo>
                <a:close/>
                <a:moveTo>
                  <a:pt x="124" y="26"/>
                </a:moveTo>
                <a:cubicBezTo>
                  <a:pt x="116" y="39"/>
                  <a:pt x="110" y="55"/>
                  <a:pt x="105" y="74"/>
                </a:cubicBezTo>
                <a:cubicBezTo>
                  <a:pt x="51" y="74"/>
                  <a:pt x="51" y="74"/>
                  <a:pt x="51" y="74"/>
                </a:cubicBezTo>
                <a:cubicBezTo>
                  <a:pt x="69" y="51"/>
                  <a:pt x="94" y="34"/>
                  <a:pt x="124" y="26"/>
                </a:cubicBezTo>
                <a:close/>
                <a:moveTo>
                  <a:pt x="51" y="245"/>
                </a:moveTo>
                <a:cubicBezTo>
                  <a:pt x="105" y="245"/>
                  <a:pt x="105" y="245"/>
                  <a:pt x="105" y="245"/>
                </a:cubicBezTo>
                <a:cubicBezTo>
                  <a:pt x="110" y="264"/>
                  <a:pt x="116" y="281"/>
                  <a:pt x="124" y="293"/>
                </a:cubicBezTo>
                <a:cubicBezTo>
                  <a:pt x="94" y="285"/>
                  <a:pt x="69" y="268"/>
                  <a:pt x="51" y="245"/>
                </a:cubicBezTo>
                <a:close/>
                <a:moveTo>
                  <a:pt x="196" y="293"/>
                </a:moveTo>
                <a:cubicBezTo>
                  <a:pt x="203" y="281"/>
                  <a:pt x="210" y="264"/>
                  <a:pt x="214" y="245"/>
                </a:cubicBezTo>
                <a:cubicBezTo>
                  <a:pt x="269" y="245"/>
                  <a:pt x="269" y="245"/>
                  <a:pt x="269" y="245"/>
                </a:cubicBezTo>
                <a:cubicBezTo>
                  <a:pt x="251" y="268"/>
                  <a:pt x="225" y="285"/>
                  <a:pt x="196" y="293"/>
                </a:cubicBezTo>
                <a:close/>
              </a:path>
            </a:pathLst>
          </a:custGeom>
          <a:solidFill>
            <a:srgbClr val="0076A8"/>
          </a:solidFill>
          <a:ln>
            <a:solidFill>
              <a:srgbClr val="0076A8"/>
            </a:solidFill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350" dirty="0">
              <a:solidFill>
                <a:prstClr val="black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580823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502920" y="1415909"/>
            <a:ext cx="11187430" cy="202913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The </a:t>
            </a:r>
            <a:r>
              <a:rPr lang="en-GB" dirty="0" err="1"/>
              <a:t>TCA</a:t>
            </a:r>
            <a:r>
              <a:rPr lang="en-GB" dirty="0"/>
              <a:t> eliminates all customs duties on goods </a:t>
            </a:r>
            <a:r>
              <a:rPr lang="en-GB" b="1" dirty="0">
                <a:solidFill>
                  <a:srgbClr val="0D8390"/>
                </a:solidFill>
              </a:rPr>
              <a:t>which originate in the other par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omprehensive </a:t>
            </a:r>
            <a:r>
              <a:rPr lang="en-GB" b="1" dirty="0">
                <a:solidFill>
                  <a:srgbClr val="0D8390"/>
                </a:solidFill>
              </a:rPr>
              <a:t>rules of origin </a:t>
            </a:r>
            <a:r>
              <a:rPr lang="en-GB" dirty="0"/>
              <a:t>determine when and how goods originate in the UK or the E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ull </a:t>
            </a:r>
            <a:r>
              <a:rPr lang="en-GB" b="1" dirty="0">
                <a:solidFill>
                  <a:srgbClr val="0D8390"/>
                </a:solidFill>
              </a:rPr>
              <a:t>bilateral </a:t>
            </a:r>
            <a:r>
              <a:rPr lang="en-GB" b="1" dirty="0" err="1">
                <a:solidFill>
                  <a:srgbClr val="0D8390"/>
                </a:solidFill>
              </a:rPr>
              <a:t>cumulation</a:t>
            </a:r>
            <a:r>
              <a:rPr lang="en-GB" b="1" dirty="0">
                <a:solidFill>
                  <a:srgbClr val="0D8390"/>
                </a:solidFill>
              </a:rPr>
              <a:t> of origin</a:t>
            </a:r>
            <a:r>
              <a:rPr lang="en-GB" dirty="0"/>
              <a:t>, which allows traders to include the value of components originating, and processing undertaken, in either the UK or the EU when determining orig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Proving origin: importer’s knowledge or supplier statement or declaration. </a:t>
            </a:r>
            <a:r>
              <a:rPr lang="en-GB" b="1" dirty="0">
                <a:solidFill>
                  <a:srgbClr val="0D8390"/>
                </a:solidFill>
              </a:rPr>
              <a:t>Simplified arrangements </a:t>
            </a:r>
            <a:r>
              <a:rPr lang="en-GB" dirty="0"/>
              <a:t>in pl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mporters have </a:t>
            </a:r>
            <a:r>
              <a:rPr lang="en-GB" b="1" dirty="0">
                <a:solidFill>
                  <a:srgbClr val="0D8390"/>
                </a:solidFill>
              </a:rPr>
              <a:t>up to three years </a:t>
            </a:r>
            <a:r>
              <a:rPr lang="en-GB" dirty="0"/>
              <a:t>from the date of import to </a:t>
            </a:r>
            <a:r>
              <a:rPr lang="en-GB" b="1" dirty="0">
                <a:solidFill>
                  <a:srgbClr val="0D8390"/>
                </a:solidFill>
              </a:rPr>
              <a:t>claim preferential tariff treatmen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noProof="0" dirty="0"/>
              <a:t>Rules of Origin in the UK-EU Trade and Cooperation Agreement (TCA)</a:t>
            </a:r>
          </a:p>
        </p:txBody>
      </p:sp>
      <p:graphicFrame>
        <p:nvGraphicFramePr>
          <p:cNvPr id="6" name="Chart 5"/>
          <p:cNvGraphicFramePr/>
          <p:nvPr/>
        </p:nvGraphicFramePr>
        <p:xfrm>
          <a:off x="1763018" y="3894836"/>
          <a:ext cx="3244704" cy="1811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763017" y="5706896"/>
            <a:ext cx="3244704" cy="4924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750"/>
              </a:spcAft>
              <a:buSzPct val="100000"/>
            </a:pPr>
            <a:r>
              <a:rPr lang="en-GB" sz="1600" dirty="0">
                <a:solidFill>
                  <a:srgbClr val="000000"/>
                </a:solidFill>
              </a:rPr>
              <a:t>UK and EU content will be regarded as qualifying content under that FTA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763017" y="3641957"/>
            <a:ext cx="3244704" cy="59503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750"/>
              </a:spcAft>
              <a:buSzPct val="100000"/>
            </a:pPr>
            <a:r>
              <a:rPr lang="en-GB" sz="1600" b="1" dirty="0">
                <a:solidFill>
                  <a:schemeClr val="accent1"/>
                </a:solidFill>
              </a:rPr>
              <a:t>UK – EU FTA</a:t>
            </a:r>
          </a:p>
          <a:p>
            <a:pPr algn="ctr">
              <a:spcAft>
                <a:spcPts val="750"/>
              </a:spcAft>
              <a:buSzPct val="100000"/>
            </a:pPr>
            <a:endParaRPr lang="en-GB" sz="1600" b="1" dirty="0">
              <a:solidFill>
                <a:schemeClr val="accent1"/>
              </a:solidFill>
            </a:endParaRPr>
          </a:p>
        </p:txBody>
      </p:sp>
      <p:graphicFrame>
        <p:nvGraphicFramePr>
          <p:cNvPr id="10" name="Chart 9"/>
          <p:cNvGraphicFramePr/>
          <p:nvPr/>
        </p:nvGraphicFramePr>
        <p:xfrm>
          <a:off x="6296471" y="4077277"/>
          <a:ext cx="3184863" cy="16296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6296472" y="5706896"/>
            <a:ext cx="3184862" cy="4924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750"/>
              </a:spcAft>
              <a:buSzPct val="100000"/>
            </a:pPr>
            <a:r>
              <a:rPr lang="en-GB" sz="1600" dirty="0">
                <a:solidFill>
                  <a:srgbClr val="000000"/>
                </a:solidFill>
              </a:rPr>
              <a:t>In UK-ROW </a:t>
            </a:r>
            <a:r>
              <a:rPr lang="en-GB" sz="1600" dirty="0" err="1">
                <a:solidFill>
                  <a:srgbClr val="000000"/>
                </a:solidFill>
              </a:rPr>
              <a:t>FTAs</a:t>
            </a:r>
            <a:r>
              <a:rPr lang="en-GB" sz="1600" dirty="0">
                <a:solidFill>
                  <a:srgbClr val="000000"/>
                </a:solidFill>
              </a:rPr>
              <a:t>, </a:t>
            </a:r>
            <a:r>
              <a:rPr lang="en-GB" sz="1600" b="1" dirty="0">
                <a:solidFill>
                  <a:srgbClr val="0D8390"/>
                </a:solidFill>
              </a:rPr>
              <a:t>UK content-only</a:t>
            </a:r>
            <a:r>
              <a:rPr lang="en-GB" sz="1600" dirty="0">
                <a:solidFill>
                  <a:srgbClr val="0D8390"/>
                </a:solidFill>
              </a:rPr>
              <a:t> </a:t>
            </a:r>
            <a:r>
              <a:rPr lang="en-GB" sz="1600" dirty="0">
                <a:solidFill>
                  <a:srgbClr val="000000"/>
                </a:solidFill>
              </a:rPr>
              <a:t>will be regarded as qualifying conten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296470" y="3529814"/>
            <a:ext cx="3184965" cy="5565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750"/>
              </a:spcAft>
              <a:buSzPct val="100000"/>
            </a:pPr>
            <a:r>
              <a:rPr lang="en-GB" sz="1600" b="1" dirty="0">
                <a:solidFill>
                  <a:schemeClr val="accent1"/>
                </a:solidFill>
              </a:rPr>
              <a:t>UK – ROW </a:t>
            </a:r>
            <a:r>
              <a:rPr lang="en-GB" sz="1600" b="1" dirty="0" err="1">
                <a:solidFill>
                  <a:schemeClr val="accent1"/>
                </a:solidFill>
              </a:rPr>
              <a:t>FTAs</a:t>
            </a:r>
            <a:endParaRPr lang="en-GB" sz="1600" b="1" dirty="0">
              <a:solidFill>
                <a:schemeClr val="accent1"/>
              </a:solidFill>
            </a:endParaRPr>
          </a:p>
          <a:p>
            <a:pPr algn="ctr">
              <a:spcAft>
                <a:spcPts val="750"/>
              </a:spcAft>
              <a:buSzPct val="100000"/>
            </a:pPr>
            <a:endParaRPr lang="en-GB" sz="1350" b="1" dirty="0">
              <a:solidFill>
                <a:schemeClr val="accent1"/>
              </a:solidFill>
            </a:endParaRPr>
          </a:p>
        </p:txBody>
      </p:sp>
      <p:pic>
        <p:nvPicPr>
          <p:cNvPr id="13" name="Picture 12" descr="Clipart - Green tick - simple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0336" y="4049688"/>
            <a:ext cx="375582" cy="476721"/>
          </a:xfrm>
          <a:prstGeom prst="rect">
            <a:avLst/>
          </a:prstGeom>
        </p:spPr>
      </p:pic>
      <p:pic>
        <p:nvPicPr>
          <p:cNvPr id="14" name="Picture 13" descr="Clipart - Green tick - simple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7997" y="4288049"/>
            <a:ext cx="375582" cy="429851"/>
          </a:xfrm>
          <a:prstGeom prst="rect">
            <a:avLst/>
          </a:prstGeom>
        </p:spPr>
      </p:pic>
      <p:pic>
        <p:nvPicPr>
          <p:cNvPr id="15" name="Picture 14" descr="Clipart - Red Cross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6874" y="4162221"/>
            <a:ext cx="307956" cy="34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120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noProof="0" dirty="0"/>
              <a:t>Example supply chain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es of Origin</a:t>
            </a:r>
            <a:endParaRPr lang="en-US" b="1" noProof="0" dirty="0"/>
          </a:p>
        </p:txBody>
      </p:sp>
      <p:sp>
        <p:nvSpPr>
          <p:cNvPr id="23" name="TextBox 22"/>
          <p:cNvSpPr txBox="1"/>
          <p:nvPr/>
        </p:nvSpPr>
        <p:spPr>
          <a:xfrm>
            <a:off x="430152" y="1263624"/>
            <a:ext cx="7480152" cy="46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1400" b="1" dirty="0">
                <a:sym typeface="Wingdings" panose="05000000000000000000" pitchFamily="2" charset="2"/>
              </a:rPr>
              <a:t>EU origin goods, exported from the EU into the UK</a:t>
            </a:r>
            <a:br>
              <a:rPr lang="en-GB" sz="1400" b="1" dirty="0">
                <a:sym typeface="Wingdings" panose="05000000000000000000" pitchFamily="2" charset="2"/>
              </a:rPr>
            </a:br>
            <a:br>
              <a:rPr lang="en-GB" sz="1400" b="1" dirty="0">
                <a:sym typeface="Wingdings" panose="05000000000000000000" pitchFamily="2" charset="2"/>
              </a:rPr>
            </a:br>
            <a:br>
              <a:rPr lang="en-GB" sz="1400" b="1" dirty="0">
                <a:sym typeface="Wingdings" panose="05000000000000000000" pitchFamily="2" charset="2"/>
              </a:rPr>
            </a:br>
            <a:br>
              <a:rPr lang="en-GB" sz="1400" b="1" dirty="0">
                <a:sym typeface="Wingdings" panose="05000000000000000000" pitchFamily="2" charset="2"/>
              </a:rPr>
            </a:br>
            <a:br>
              <a:rPr lang="en-GB" sz="1400" b="1" dirty="0">
                <a:sym typeface="Wingdings" panose="05000000000000000000" pitchFamily="2" charset="2"/>
              </a:rPr>
            </a:br>
            <a:r>
              <a:rPr lang="en-GB" sz="1400" b="1" dirty="0">
                <a:sym typeface="Wingdings" panose="05000000000000000000" pitchFamily="2" charset="2"/>
              </a:rPr>
              <a:t>Chinese Origin goods, exported from China to the EU, then subsequently exported to the UK</a:t>
            </a:r>
            <a:br>
              <a:rPr lang="en-GB" sz="1400" b="1" dirty="0">
                <a:sym typeface="Wingdings" panose="05000000000000000000" pitchFamily="2" charset="2"/>
              </a:rPr>
            </a:br>
            <a:br>
              <a:rPr lang="en-GB" sz="1400" b="1" dirty="0">
                <a:sym typeface="Wingdings" panose="05000000000000000000" pitchFamily="2" charset="2"/>
              </a:rPr>
            </a:br>
            <a:br>
              <a:rPr lang="en-GB" sz="1400" b="1" dirty="0">
                <a:sym typeface="Wingdings" panose="05000000000000000000" pitchFamily="2" charset="2"/>
              </a:rPr>
            </a:br>
            <a:br>
              <a:rPr lang="en-GB" sz="1400" b="1" dirty="0">
                <a:sym typeface="Wingdings" panose="05000000000000000000" pitchFamily="2" charset="2"/>
              </a:rPr>
            </a:br>
            <a:br>
              <a:rPr lang="en-GB" sz="1400" b="1" dirty="0">
                <a:sym typeface="Wingdings" panose="05000000000000000000" pitchFamily="2" charset="2"/>
              </a:rPr>
            </a:br>
            <a:r>
              <a:rPr lang="en-GB" sz="1400" b="1" dirty="0">
                <a:sym typeface="Wingdings" panose="05000000000000000000" pitchFamily="2" charset="2"/>
              </a:rPr>
              <a:t>Finished EU origin goods, exported from the EU into the UK and then returned to the EU</a:t>
            </a:r>
            <a:br>
              <a:rPr lang="en-GB" sz="1400" b="1" dirty="0">
                <a:sym typeface="Wingdings" panose="05000000000000000000" pitchFamily="2" charset="2"/>
              </a:rPr>
            </a:br>
            <a:br>
              <a:rPr lang="en-GB" sz="1400" b="1" dirty="0">
                <a:sym typeface="Wingdings" panose="05000000000000000000" pitchFamily="2" charset="2"/>
              </a:rPr>
            </a:br>
            <a:br>
              <a:rPr lang="en-GB" sz="1400" b="1" dirty="0">
                <a:sym typeface="Wingdings" panose="05000000000000000000" pitchFamily="2" charset="2"/>
              </a:rPr>
            </a:br>
            <a:br>
              <a:rPr lang="en-GB" sz="1400" b="1" dirty="0">
                <a:sym typeface="Wingdings" panose="05000000000000000000" pitchFamily="2" charset="2"/>
              </a:rPr>
            </a:br>
            <a:br>
              <a:rPr lang="en-GB" sz="1400" b="1" dirty="0">
                <a:sym typeface="Wingdings" panose="05000000000000000000" pitchFamily="2" charset="2"/>
              </a:rPr>
            </a:br>
            <a:r>
              <a:rPr lang="en-GB" sz="1400" b="1" dirty="0">
                <a:sym typeface="Wingdings" panose="05000000000000000000" pitchFamily="2" charset="2"/>
              </a:rPr>
              <a:t>Intermediate EU origin goods, exported to the UK for further processing and then returned to the EU</a:t>
            </a:r>
            <a:br>
              <a:rPr lang="en-GB" sz="1400" b="1" dirty="0">
                <a:sym typeface="Wingdings" panose="05000000000000000000" pitchFamily="2" charset="2"/>
              </a:rPr>
            </a:br>
            <a:br>
              <a:rPr lang="en-GB" sz="1400" b="1" dirty="0">
                <a:sym typeface="Wingdings" panose="05000000000000000000" pitchFamily="2" charset="2"/>
              </a:rPr>
            </a:br>
            <a:br>
              <a:rPr lang="en-GB" sz="1400" b="1" dirty="0">
                <a:sym typeface="Wingdings" panose="05000000000000000000" pitchFamily="2" charset="2"/>
              </a:rPr>
            </a:br>
            <a:endParaRPr lang="en-GB" sz="1400" b="1" dirty="0">
              <a:sym typeface="Wingdings" panose="05000000000000000000" pitchFamily="2" charset="2"/>
            </a:endParaRPr>
          </a:p>
          <a:p>
            <a:pPr>
              <a:spcBef>
                <a:spcPts val="600"/>
              </a:spcBef>
              <a:buSzPct val="100000"/>
            </a:pPr>
            <a:br>
              <a:rPr lang="en-GB" sz="1400" b="1" dirty="0">
                <a:sym typeface="Wingdings" panose="05000000000000000000" pitchFamily="2" charset="2"/>
              </a:rPr>
            </a:br>
            <a:r>
              <a:rPr lang="en-GB" sz="1400" b="1" dirty="0">
                <a:sym typeface="Wingdings" panose="05000000000000000000" pitchFamily="2" charset="2"/>
              </a:rPr>
              <a:t>Canadian origin goods, exported from Canada to the UK and then exported to the EU</a:t>
            </a:r>
          </a:p>
        </p:txBody>
      </p:sp>
      <p:grpSp>
        <p:nvGrpSpPr>
          <p:cNvPr id="60" name="Group 59"/>
          <p:cNvGrpSpPr/>
          <p:nvPr/>
        </p:nvGrpSpPr>
        <p:grpSpPr>
          <a:xfrm>
            <a:off x="437366" y="1503222"/>
            <a:ext cx="4277252" cy="574215"/>
            <a:chOff x="430153" y="1580702"/>
            <a:chExt cx="4277252" cy="574215"/>
          </a:xfrm>
        </p:grpSpPr>
        <p:pic>
          <p:nvPicPr>
            <p:cNvPr id="24" name="Picture 23" descr="Clipart - Green tick - simple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83564" y="1580702"/>
              <a:ext cx="176925" cy="224568"/>
            </a:xfrm>
            <a:prstGeom prst="rect">
              <a:avLst/>
            </a:prstGeom>
          </p:spPr>
        </p:pic>
        <p:pic>
          <p:nvPicPr>
            <p:cNvPr id="37" name="Picture 2" descr="Flag of the United Kingdom - Wikipedia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62436" y="1644262"/>
              <a:ext cx="744969" cy="5043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8" descr="European Union (EU) Flag 3 foot by 5 foot Polyester (New): Amazon.co.uk:  Garden &amp; Outdoors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153" y="1650612"/>
              <a:ext cx="744968" cy="5043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39" name="Straight Arrow Connector 38"/>
            <p:cNvCxnSpPr>
              <a:stCxn id="38" idx="3"/>
              <a:endCxn id="37" idx="1"/>
            </p:cNvCxnSpPr>
            <p:nvPr/>
          </p:nvCxnSpPr>
          <p:spPr>
            <a:xfrm flipV="1">
              <a:off x="1175121" y="1896414"/>
              <a:ext cx="2787314" cy="6350"/>
            </a:xfrm>
            <a:prstGeom prst="straightConnector1">
              <a:avLst/>
            </a:prstGeom>
            <a:ln w="19050"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Group 62"/>
          <p:cNvGrpSpPr/>
          <p:nvPr/>
        </p:nvGrpSpPr>
        <p:grpSpPr>
          <a:xfrm>
            <a:off x="430153" y="4691546"/>
            <a:ext cx="4291084" cy="555095"/>
            <a:chOff x="430153" y="4688190"/>
            <a:chExt cx="4291084" cy="555095"/>
          </a:xfrm>
        </p:grpSpPr>
        <p:pic>
          <p:nvPicPr>
            <p:cNvPr id="29" name="Picture 8" descr="European Union (EU) Flag 3 foot by 5 foot Polyester (New): Amazon.co.uk:  Garden &amp; Outdoors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76269" y="4738980"/>
              <a:ext cx="744968" cy="5043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8" descr="European Union (EU) Flag 3 foot by 5 foot Polyester (New): Amazon.co.uk:  Garden &amp; Outdoors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153" y="4738980"/>
              <a:ext cx="744968" cy="5043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2" descr="Flag of the United Kingdom - Wikipedia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6295" y="4738980"/>
              <a:ext cx="744969" cy="5043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44" name="Straight Arrow Connector 43"/>
            <p:cNvCxnSpPr>
              <a:stCxn id="31" idx="3"/>
              <a:endCxn id="29" idx="1"/>
            </p:cNvCxnSpPr>
            <p:nvPr/>
          </p:nvCxnSpPr>
          <p:spPr>
            <a:xfrm>
              <a:off x="2941263" y="4991132"/>
              <a:ext cx="1035006" cy="0"/>
            </a:xfrm>
            <a:prstGeom prst="straightConnector1">
              <a:avLst/>
            </a:prstGeom>
            <a:ln w="19050"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/>
            <p:cNvCxnSpPr>
              <a:stCxn id="30" idx="3"/>
              <a:endCxn id="31" idx="1"/>
            </p:cNvCxnSpPr>
            <p:nvPr/>
          </p:nvCxnSpPr>
          <p:spPr>
            <a:xfrm>
              <a:off x="1175122" y="4991132"/>
              <a:ext cx="1021173" cy="0"/>
            </a:xfrm>
            <a:prstGeom prst="straightConnector1">
              <a:avLst/>
            </a:prstGeom>
            <a:ln w="19050"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9" name="Picture 48" descr="Clipart - Green tick - simple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23603" y="4688190"/>
              <a:ext cx="176925" cy="224568"/>
            </a:xfrm>
            <a:prstGeom prst="rect">
              <a:avLst/>
            </a:prstGeom>
          </p:spPr>
        </p:pic>
        <p:pic>
          <p:nvPicPr>
            <p:cNvPr id="50" name="Picture 49" descr="Clipart - Green tick - simple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2026" y="4688190"/>
              <a:ext cx="176925" cy="224568"/>
            </a:xfrm>
            <a:prstGeom prst="rect">
              <a:avLst/>
            </a:prstGeom>
          </p:spPr>
        </p:pic>
      </p:grpSp>
      <p:grpSp>
        <p:nvGrpSpPr>
          <p:cNvPr id="62" name="Group 61"/>
          <p:cNvGrpSpPr/>
          <p:nvPr/>
        </p:nvGrpSpPr>
        <p:grpSpPr>
          <a:xfrm>
            <a:off x="430153" y="3604178"/>
            <a:ext cx="4291084" cy="555094"/>
            <a:chOff x="430153" y="3678783"/>
            <a:chExt cx="4291084" cy="555094"/>
          </a:xfrm>
        </p:grpSpPr>
        <p:pic>
          <p:nvPicPr>
            <p:cNvPr id="32" name="Picture 8" descr="European Union (EU) Flag 3 foot by 5 foot Polyester (New): Amazon.co.uk:  Garden &amp; Outdoors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76269" y="3729572"/>
              <a:ext cx="744968" cy="5043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8" descr="European Union (EU) Flag 3 foot by 5 foot Polyester (New): Amazon.co.uk:  Garden &amp; Outdoors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153" y="3729572"/>
              <a:ext cx="744968" cy="5043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2" descr="Flag of the United Kingdom - Wikipedia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6295" y="3729572"/>
              <a:ext cx="744969" cy="5043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42" name="Straight Arrow Connector 41"/>
            <p:cNvCxnSpPr>
              <a:stCxn id="33" idx="3"/>
              <a:endCxn id="34" idx="1"/>
            </p:cNvCxnSpPr>
            <p:nvPr/>
          </p:nvCxnSpPr>
          <p:spPr>
            <a:xfrm>
              <a:off x="1175122" y="3981724"/>
              <a:ext cx="1021173" cy="0"/>
            </a:xfrm>
            <a:prstGeom prst="straightConnector1">
              <a:avLst/>
            </a:prstGeom>
            <a:ln w="19050"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/>
            <p:cNvCxnSpPr>
              <a:endCxn id="32" idx="1"/>
            </p:cNvCxnSpPr>
            <p:nvPr/>
          </p:nvCxnSpPr>
          <p:spPr>
            <a:xfrm>
              <a:off x="2941265" y="3981724"/>
              <a:ext cx="1035005" cy="1"/>
            </a:xfrm>
            <a:prstGeom prst="straightConnector1">
              <a:avLst/>
            </a:prstGeom>
            <a:ln w="19050"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8" name="Picture 47" descr="Clipart - Green tick - simple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23603" y="3678783"/>
              <a:ext cx="176925" cy="224568"/>
            </a:xfrm>
            <a:prstGeom prst="rect">
              <a:avLst/>
            </a:prstGeom>
          </p:spPr>
        </p:pic>
        <p:pic>
          <p:nvPicPr>
            <p:cNvPr id="51" name="Picture 50" descr="Clipart - Red Cross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83563" y="3688281"/>
              <a:ext cx="221388" cy="244966"/>
            </a:xfrm>
            <a:prstGeom prst="rect">
              <a:avLst/>
            </a:prstGeom>
          </p:spPr>
        </p:pic>
      </p:grpSp>
      <p:grpSp>
        <p:nvGrpSpPr>
          <p:cNvPr id="61" name="Group 60"/>
          <p:cNvGrpSpPr/>
          <p:nvPr/>
        </p:nvGrpSpPr>
        <p:grpSpPr>
          <a:xfrm>
            <a:off x="437366" y="2583163"/>
            <a:ext cx="4273917" cy="525709"/>
            <a:chOff x="433489" y="2686060"/>
            <a:chExt cx="4273917" cy="525709"/>
          </a:xfrm>
        </p:grpSpPr>
        <p:pic>
          <p:nvPicPr>
            <p:cNvPr id="27" name="Picture 10" descr="Flag of China | Britannica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3489" y="2707464"/>
              <a:ext cx="741633" cy="5043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8" descr="European Union (EU) Flag 3 foot by 5 foot Polyester (New): Amazon.co.uk:  Garden &amp; Outdoors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6295" y="2707463"/>
              <a:ext cx="744968" cy="5043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2" descr="Flag of the United Kingdom - Wikipedia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62437" y="2707462"/>
              <a:ext cx="744969" cy="5043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40" name="Straight Arrow Connector 39"/>
            <p:cNvCxnSpPr>
              <a:stCxn id="27" idx="3"/>
              <a:endCxn id="35" idx="1"/>
            </p:cNvCxnSpPr>
            <p:nvPr/>
          </p:nvCxnSpPr>
          <p:spPr>
            <a:xfrm flipV="1">
              <a:off x="1175121" y="2959616"/>
              <a:ext cx="1021174" cy="1"/>
            </a:xfrm>
            <a:prstGeom prst="straightConnector1">
              <a:avLst/>
            </a:prstGeom>
            <a:ln w="19050"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Arrow Connector 40"/>
            <p:cNvCxnSpPr>
              <a:stCxn id="35" idx="3"/>
              <a:endCxn id="36" idx="1"/>
            </p:cNvCxnSpPr>
            <p:nvPr/>
          </p:nvCxnSpPr>
          <p:spPr>
            <a:xfrm flipV="1">
              <a:off x="2941264" y="2959615"/>
              <a:ext cx="1021173" cy="1"/>
            </a:xfrm>
            <a:prstGeom prst="straightConnector1">
              <a:avLst/>
            </a:prstGeom>
            <a:ln w="19050"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2" name="Picture 51" descr="Clipart - Red Cross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83563" y="2686060"/>
              <a:ext cx="221388" cy="244966"/>
            </a:xfrm>
            <a:prstGeom prst="rect">
              <a:avLst/>
            </a:prstGeom>
          </p:spPr>
        </p:pic>
        <p:pic>
          <p:nvPicPr>
            <p:cNvPr id="53" name="Picture 52" descr="Clipart - Red Cross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17422" y="2691816"/>
              <a:ext cx="221388" cy="244966"/>
            </a:xfrm>
            <a:prstGeom prst="rect">
              <a:avLst/>
            </a:prstGeom>
          </p:spPr>
        </p:pic>
      </p:grpSp>
      <p:grpSp>
        <p:nvGrpSpPr>
          <p:cNvPr id="64" name="Group 63"/>
          <p:cNvGrpSpPr/>
          <p:nvPr/>
        </p:nvGrpSpPr>
        <p:grpSpPr>
          <a:xfrm>
            <a:off x="437366" y="5861041"/>
            <a:ext cx="4291083" cy="534816"/>
            <a:chOff x="430154" y="5787969"/>
            <a:chExt cx="4291083" cy="534816"/>
          </a:xfrm>
        </p:grpSpPr>
        <p:pic>
          <p:nvPicPr>
            <p:cNvPr id="25" name="Picture 2" descr="Flag of the United Kingdom - Wikipedia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6295" y="5818480"/>
              <a:ext cx="744969" cy="5043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8" descr="European Union (EU) Flag 3 foot by 5 foot Polyester (New): Amazon.co.uk:  Garden &amp; Outdoors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76269" y="5818480"/>
              <a:ext cx="744968" cy="5043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12" descr="Flag of Canada mirrored horizontally. : notinteresting"/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13" t="3877" r="6253" b="3348"/>
            <a:stretch/>
          </p:blipFill>
          <p:spPr bwMode="auto">
            <a:xfrm>
              <a:off x="430154" y="5818480"/>
              <a:ext cx="731135" cy="5043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45" name="Straight Arrow Connector 44"/>
            <p:cNvCxnSpPr>
              <a:stCxn id="25" idx="3"/>
              <a:endCxn id="26" idx="1"/>
            </p:cNvCxnSpPr>
            <p:nvPr/>
          </p:nvCxnSpPr>
          <p:spPr>
            <a:xfrm>
              <a:off x="2941263" y="6070632"/>
              <a:ext cx="1035006" cy="0"/>
            </a:xfrm>
            <a:prstGeom prst="straightConnector1">
              <a:avLst/>
            </a:prstGeom>
            <a:ln w="19050"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Arrow Connector 45"/>
            <p:cNvCxnSpPr>
              <a:stCxn id="28" idx="3"/>
              <a:endCxn id="25" idx="1"/>
            </p:cNvCxnSpPr>
            <p:nvPr/>
          </p:nvCxnSpPr>
          <p:spPr>
            <a:xfrm>
              <a:off x="1161288" y="6070632"/>
              <a:ext cx="1035006" cy="0"/>
            </a:xfrm>
            <a:prstGeom prst="straightConnector1">
              <a:avLst/>
            </a:prstGeom>
            <a:ln w="19050">
              <a:solidFill>
                <a:srgbClr val="0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4" name="Picture 53" descr="Clipart - Red Cross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562" y="5787969"/>
              <a:ext cx="221388" cy="244966"/>
            </a:xfrm>
            <a:prstGeom prst="rect">
              <a:avLst/>
            </a:prstGeom>
          </p:spPr>
        </p:pic>
        <p:pic>
          <p:nvPicPr>
            <p:cNvPr id="55" name="Picture 54" descr="Clipart - Green tick - simple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28501" y="5798168"/>
              <a:ext cx="176925" cy="224568"/>
            </a:xfrm>
            <a:prstGeom prst="rect">
              <a:avLst/>
            </a:prstGeom>
          </p:spPr>
        </p:pic>
      </p:grpSp>
      <p:sp>
        <p:nvSpPr>
          <p:cNvPr id="56" name="TextBox 55"/>
          <p:cNvSpPr txBox="1"/>
          <p:nvPr/>
        </p:nvSpPr>
        <p:spPr>
          <a:xfrm>
            <a:off x="8193221" y="1263624"/>
            <a:ext cx="3772832" cy="35935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1600" b="1" dirty="0"/>
              <a:t>Key customs considerations</a:t>
            </a:r>
          </a:p>
          <a:p>
            <a:pPr marL="285750" indent="-285750">
              <a:lnSpc>
                <a:spcPct val="2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GB" sz="1600" dirty="0"/>
              <a:t>Rules of origin</a:t>
            </a:r>
          </a:p>
          <a:p>
            <a:pPr marL="285750" indent="-285750">
              <a:lnSpc>
                <a:spcPct val="2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GB" sz="1600" dirty="0"/>
              <a:t>Cumulation</a:t>
            </a:r>
          </a:p>
          <a:p>
            <a:pPr marL="285750" indent="-285750">
              <a:lnSpc>
                <a:spcPct val="2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GB" sz="1600" dirty="0"/>
              <a:t>Customs Warehousing</a:t>
            </a:r>
          </a:p>
          <a:p>
            <a:pPr marL="285750" indent="-285750">
              <a:lnSpc>
                <a:spcPct val="2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GB" sz="1600" dirty="0"/>
              <a:t>Insufficient Processing</a:t>
            </a:r>
          </a:p>
          <a:p>
            <a:pPr marL="285750" indent="-285750">
              <a:lnSpc>
                <a:spcPct val="2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GB" sz="1600" dirty="0"/>
              <a:t>Sufficient Processing</a:t>
            </a:r>
          </a:p>
          <a:p>
            <a:pPr marL="285750" indent="-285750">
              <a:lnSpc>
                <a:spcPct val="2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GB" sz="1600" dirty="0"/>
              <a:t>Direct transport versus non-manipulation</a:t>
            </a:r>
          </a:p>
        </p:txBody>
      </p:sp>
    </p:spTree>
    <p:extLst>
      <p:ext uri="{BB962C8B-B14F-4D97-AF65-F5344CB8AC3E}">
        <p14:creationId xmlns:p14="http://schemas.microsoft.com/office/powerpoint/2010/main" val="1114412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8F9E0648B134F4C85D3ECFB9BD4D1D3" ma:contentTypeVersion="13" ma:contentTypeDescription="Een nieuw document maken." ma:contentTypeScope="" ma:versionID="7f7d65bd577aaf6db0e7d659db280fda">
  <xsd:schema xmlns:xsd="http://www.w3.org/2001/XMLSchema" xmlns:xs="http://www.w3.org/2001/XMLSchema" xmlns:p="http://schemas.microsoft.com/office/2006/metadata/properties" xmlns:ns2="8604f0d2-fe97-4b8c-862c-1c9298b286d6" xmlns:ns3="d978f039-9a79-41f6-885c-e4a2b06858d9" targetNamespace="http://schemas.microsoft.com/office/2006/metadata/properties" ma:root="true" ma:fieldsID="8074855dbd430a06d2a886b7cd742c9e" ns2:_="" ns3:_="">
    <xsd:import namespace="8604f0d2-fe97-4b8c-862c-1c9298b286d6"/>
    <xsd:import namespace="d978f039-9a79-41f6-885c-e4a2b06858d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04f0d2-fe97-4b8c-862c-1c9298b286d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Gedeeld met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78f039-9a79-41f6-885c-e4a2b06858d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4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27A4F80-D11B-438E-8354-63DA8B5B912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94A45D6-E2B0-4063-82CF-19691D945B6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604f0d2-fe97-4b8c-862c-1c9298b286d6"/>
    <ds:schemaRef ds:uri="d978f039-9a79-41f6-885c-e4a2b06858d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BDA7988-3DF2-4611-8ADF-E1C78F32A1C7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8604f0d2-fe97-4b8c-862c-1c9298b286d6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d978f039-9a79-41f6-885c-e4a2b06858d9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 Brand Theme</Template>
  <TotalTime>0</TotalTime>
  <Words>927</Words>
  <Application>Microsoft Office PowerPoint</Application>
  <PresentationFormat>Breedbeeld</PresentationFormat>
  <Paragraphs>155</Paragraphs>
  <Slides>10</Slides>
  <Notes>8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8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0</vt:i4>
      </vt:variant>
    </vt:vector>
  </HeadingPairs>
  <TitlesOfParts>
    <vt:vector size="20" baseType="lpstr">
      <vt:lpstr>Arial</vt:lpstr>
      <vt:lpstr>Calibri</vt:lpstr>
      <vt:lpstr>Calibri Light</vt:lpstr>
      <vt:lpstr>Courier New</vt:lpstr>
      <vt:lpstr>Helvetica</vt:lpstr>
      <vt:lpstr>Times New Roman</vt:lpstr>
      <vt:lpstr>Verdana</vt:lpstr>
      <vt:lpstr>Wingdings 2</vt:lpstr>
      <vt:lpstr>Deloitte Brand Theme</vt:lpstr>
      <vt:lpstr>think-cell Slide</vt:lpstr>
      <vt:lpstr>Brexit: Impact Of The Deal</vt:lpstr>
      <vt:lpstr>Where are we now?</vt:lpstr>
      <vt:lpstr>What is in the UK-EU Trade and Cooperation Agreement?</vt:lpstr>
      <vt:lpstr>What is in the UK-EU Trade and Cooperation Agreement?</vt:lpstr>
      <vt:lpstr>Where are we now?</vt:lpstr>
      <vt:lpstr>Customs duties and border controls</vt:lpstr>
      <vt:lpstr>Customs building blocks</vt:lpstr>
      <vt:lpstr>Rules of Origin in the UK-EU Trade and Cooperation Agreement (TCA)</vt:lpstr>
      <vt:lpstr>Rules of Origin</vt:lpstr>
      <vt:lpstr>UK phased border control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4-09T19:50:51Z</dcterms:created>
  <dcterms:modified xsi:type="dcterms:W3CDTF">2021-02-09T13:06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8F9E0648B134F4C85D3ECFB9BD4D1D3</vt:lpwstr>
  </property>
</Properties>
</file>